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2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3.xml" ContentType="application/vnd.openxmlformats-officedocument.theme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48" r:id="rId1"/>
    <p:sldMasterId id="2147483661" r:id="rId2"/>
    <p:sldMasterId id="2147483723" r:id="rId3"/>
    <p:sldMasterId id="2147483738" r:id="rId4"/>
  </p:sldMasterIdLst>
  <p:notesMasterIdLst>
    <p:notesMasterId r:id="rId28"/>
  </p:notesMasterIdLst>
  <p:sldIdLst>
    <p:sldId id="257" r:id="rId5"/>
    <p:sldId id="2147470184" r:id="rId6"/>
    <p:sldId id="2146847043" r:id="rId7"/>
    <p:sldId id="300" r:id="rId8"/>
    <p:sldId id="2147470223" r:id="rId9"/>
    <p:sldId id="2147470235" r:id="rId10"/>
    <p:sldId id="2147470301" r:id="rId11"/>
    <p:sldId id="2147470304" r:id="rId12"/>
    <p:sldId id="2147470302" r:id="rId13"/>
    <p:sldId id="2147470305" r:id="rId14"/>
    <p:sldId id="2147470303" r:id="rId15"/>
    <p:sldId id="2147470306" r:id="rId16"/>
    <p:sldId id="2147470287" r:id="rId17"/>
    <p:sldId id="2147470233" r:id="rId18"/>
    <p:sldId id="2147470307" r:id="rId19"/>
    <p:sldId id="2147470244" r:id="rId20"/>
    <p:sldId id="2147470228" r:id="rId21"/>
    <p:sldId id="2147470227" r:id="rId22"/>
    <p:sldId id="2147470226" r:id="rId23"/>
    <p:sldId id="2147470224" r:id="rId24"/>
    <p:sldId id="2147470252" r:id="rId25"/>
    <p:sldId id="2147470237" r:id="rId26"/>
    <p:sldId id="2147374605" r:id="rId27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ção Padrão" id="{34A5B777-9B84-4988-B3DD-3B608274DF87}">
          <p14:sldIdLst>
            <p14:sldId id="257"/>
            <p14:sldId id="2147470184"/>
            <p14:sldId id="2146847043"/>
            <p14:sldId id="300"/>
            <p14:sldId id="2147470223"/>
            <p14:sldId id="2147470235"/>
            <p14:sldId id="2147470301"/>
            <p14:sldId id="2147470304"/>
            <p14:sldId id="2147470302"/>
            <p14:sldId id="2147470305"/>
            <p14:sldId id="2147470303"/>
            <p14:sldId id="2147470306"/>
            <p14:sldId id="2147470287"/>
            <p14:sldId id="2147470233"/>
            <p14:sldId id="2147470307"/>
            <p14:sldId id="2147470244"/>
            <p14:sldId id="2147470228"/>
            <p14:sldId id="2147470227"/>
            <p14:sldId id="2147470226"/>
            <p14:sldId id="2147470224"/>
            <p14:sldId id="2147470252"/>
          </p14:sldIdLst>
        </p14:section>
        <p14:section name="Teste Multicluster" id="{5C627118-ABA7-4617-AC3B-978F7BDC5C1B}">
          <p14:sldIdLst>
            <p14:sldId id="2147470237"/>
            <p14:sldId id="2147374605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7C80"/>
    <a:srgbClr val="60606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E984C9B-B738-43BF-9D1F-1E396C732CE8}" v="11" dt="2025-10-24T11:35:37.14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230" autoAdjust="0"/>
    <p:restoredTop sz="94660"/>
  </p:normalViewPr>
  <p:slideViewPr>
    <p:cSldViewPr snapToGrid="0">
      <p:cViewPr varScale="1">
        <p:scale>
          <a:sx n="107" d="100"/>
          <a:sy n="107" d="100"/>
        </p:scale>
        <p:origin x="888" y="10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34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microsoft.com/office/2016/11/relationships/changesInfo" Target="changesInfos/changesInfo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viewProps" Target="viewProps.xml"/><Relationship Id="rId8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lexandre Zanetti de Almeida" userId="129d4ce6-e715-4d33-b4c4-312f1656225b" providerId="ADAL" clId="{DAA91581-15BE-4EFF-B1B4-63C16D64E394}"/>
    <pc:docChg chg="undo redo custSel modSld">
      <pc:chgData name="Alexandre Zanetti de Almeida" userId="129d4ce6-e715-4d33-b4c4-312f1656225b" providerId="ADAL" clId="{DAA91581-15BE-4EFF-B1B4-63C16D64E394}" dt="2025-09-12T12:37:32.353" v="340" actId="21"/>
      <pc:docMkLst>
        <pc:docMk/>
      </pc:docMkLst>
      <pc:sldChg chg="modSp mod">
        <pc:chgData name="Alexandre Zanetti de Almeida" userId="129d4ce6-e715-4d33-b4c4-312f1656225b" providerId="ADAL" clId="{DAA91581-15BE-4EFF-B1B4-63C16D64E394}" dt="2025-09-11T09:28:34.415" v="149" actId="6549"/>
        <pc:sldMkLst>
          <pc:docMk/>
          <pc:sldMk cId="3565198220" sldId="257"/>
        </pc:sldMkLst>
      </pc:sldChg>
      <pc:sldChg chg="modSp mod">
        <pc:chgData name="Alexandre Zanetti de Almeida" userId="129d4ce6-e715-4d33-b4c4-312f1656225b" providerId="ADAL" clId="{DAA91581-15BE-4EFF-B1B4-63C16D64E394}" dt="2025-09-12T12:37:32.353" v="340" actId="21"/>
        <pc:sldMkLst>
          <pc:docMk/>
          <pc:sldMk cId="3456330198" sldId="2147470287"/>
        </pc:sldMkLst>
      </pc:sldChg>
      <pc:sldChg chg="modSp mod">
        <pc:chgData name="Alexandre Zanetti de Almeida" userId="129d4ce6-e715-4d33-b4c4-312f1656225b" providerId="ADAL" clId="{DAA91581-15BE-4EFF-B1B4-63C16D64E394}" dt="2025-09-12T11:52:23.181" v="286" actId="6549"/>
        <pc:sldMkLst>
          <pc:docMk/>
          <pc:sldMk cId="1940508740" sldId="2147470304"/>
        </pc:sldMkLst>
      </pc:sldChg>
      <pc:sldChg chg="modSp mod">
        <pc:chgData name="Alexandre Zanetti de Almeida" userId="129d4ce6-e715-4d33-b4c4-312f1656225b" providerId="ADAL" clId="{DAA91581-15BE-4EFF-B1B4-63C16D64E394}" dt="2025-09-12T11:52:32.725" v="287"/>
        <pc:sldMkLst>
          <pc:docMk/>
          <pc:sldMk cId="666269910" sldId="2147470305"/>
        </pc:sldMkLst>
      </pc:sldChg>
      <pc:sldChg chg="modSp mod">
        <pc:chgData name="Alexandre Zanetti de Almeida" userId="129d4ce6-e715-4d33-b4c4-312f1656225b" providerId="ADAL" clId="{DAA91581-15BE-4EFF-B1B4-63C16D64E394}" dt="2025-09-12T11:52:40.068" v="288"/>
        <pc:sldMkLst>
          <pc:docMk/>
          <pc:sldMk cId="2230261567" sldId="2147470306"/>
        </pc:sldMkLst>
      </pc:sldChg>
    </pc:docChg>
  </pc:docChgLst>
  <pc:docChgLst>
    <pc:chgData name="Alexandre Zanetti de Almeida" userId="129d4ce6-e715-4d33-b4c4-312f1656225b" providerId="ADAL" clId="{CB4A5929-CD66-40A2-A9E2-11FC22D64308}"/>
    <pc:docChg chg="undo custSel modSld">
      <pc:chgData name="Alexandre Zanetti de Almeida" userId="129d4ce6-e715-4d33-b4c4-312f1656225b" providerId="ADAL" clId="{CB4A5929-CD66-40A2-A9E2-11FC22D64308}" dt="2025-08-19T12:48:45.062" v="331"/>
      <pc:docMkLst>
        <pc:docMk/>
      </pc:docMkLst>
      <pc:sldChg chg="modSp mod">
        <pc:chgData name="Alexandre Zanetti de Almeida" userId="129d4ce6-e715-4d33-b4c4-312f1656225b" providerId="ADAL" clId="{CB4A5929-CD66-40A2-A9E2-11FC22D64308}" dt="2025-08-19T12:48:32.729" v="329" actId="6549"/>
        <pc:sldMkLst>
          <pc:docMk/>
          <pc:sldMk cId="1940508740" sldId="2147470304"/>
        </pc:sldMkLst>
      </pc:sldChg>
      <pc:sldChg chg="modSp">
        <pc:chgData name="Alexandre Zanetti de Almeida" userId="129d4ce6-e715-4d33-b4c4-312f1656225b" providerId="ADAL" clId="{CB4A5929-CD66-40A2-A9E2-11FC22D64308}" dt="2025-08-19T12:48:41.231" v="330"/>
        <pc:sldMkLst>
          <pc:docMk/>
          <pc:sldMk cId="666269910" sldId="2147470305"/>
        </pc:sldMkLst>
      </pc:sldChg>
      <pc:sldChg chg="modSp">
        <pc:chgData name="Alexandre Zanetti de Almeida" userId="129d4ce6-e715-4d33-b4c4-312f1656225b" providerId="ADAL" clId="{CB4A5929-CD66-40A2-A9E2-11FC22D64308}" dt="2025-08-19T12:48:45.062" v="331"/>
        <pc:sldMkLst>
          <pc:docMk/>
          <pc:sldMk cId="2230261567" sldId="2147470306"/>
        </pc:sldMkLst>
      </pc:sldChg>
    </pc:docChg>
  </pc:docChgLst>
  <pc:docChgLst>
    <pc:chgData name="Alexandre Zanetti de Almeida" userId="129d4ce6-e715-4d33-b4c4-312f1656225b" providerId="ADAL" clId="{C9FC0906-2A6D-45D2-9E77-CF45965F917E}"/>
    <pc:docChg chg="undo custSel modSld">
      <pc:chgData name="Alexandre Zanetti de Almeida" userId="129d4ce6-e715-4d33-b4c4-312f1656225b" providerId="ADAL" clId="{C9FC0906-2A6D-45D2-9E77-CF45965F917E}" dt="2025-10-24T11:36:57.762" v="359" actId="20577"/>
      <pc:docMkLst>
        <pc:docMk/>
      </pc:docMkLst>
      <pc:sldChg chg="modSp mod">
        <pc:chgData name="Alexandre Zanetti de Almeida" userId="129d4ce6-e715-4d33-b4c4-312f1656225b" providerId="ADAL" clId="{C9FC0906-2A6D-45D2-9E77-CF45965F917E}" dt="2025-10-22T11:56:37.709" v="15" actId="20577"/>
        <pc:sldMkLst>
          <pc:docMk/>
          <pc:sldMk cId="3565198220" sldId="257"/>
        </pc:sldMkLst>
        <pc:spChg chg="mod">
          <ac:chgData name="Alexandre Zanetti de Almeida" userId="129d4ce6-e715-4d33-b4c4-312f1656225b" providerId="ADAL" clId="{C9FC0906-2A6D-45D2-9E77-CF45965F917E}" dt="2025-10-22T11:56:37.709" v="15" actId="20577"/>
          <ac:spMkLst>
            <pc:docMk/>
            <pc:sldMk cId="3565198220" sldId="257"/>
            <ac:spMk id="6" creationId="{2D44CC79-D79C-BF0C-82C8-75A442AF8EFE}"/>
          </ac:spMkLst>
        </pc:spChg>
      </pc:sldChg>
      <pc:sldChg chg="modSp mod">
        <pc:chgData name="Alexandre Zanetti de Almeida" userId="129d4ce6-e715-4d33-b4c4-312f1656225b" providerId="ADAL" clId="{C9FC0906-2A6D-45D2-9E77-CF45965F917E}" dt="2025-10-24T11:36:57.762" v="359" actId="20577"/>
        <pc:sldMkLst>
          <pc:docMk/>
          <pc:sldMk cId="1940508740" sldId="2147470304"/>
        </pc:sldMkLst>
        <pc:spChg chg="mod">
          <ac:chgData name="Alexandre Zanetti de Almeida" userId="129d4ce6-e715-4d33-b4c4-312f1656225b" providerId="ADAL" clId="{C9FC0906-2A6D-45D2-9E77-CF45965F917E}" dt="2025-10-24T11:34:22.609" v="201" actId="6549"/>
          <ac:spMkLst>
            <pc:docMk/>
            <pc:sldMk cId="1940508740" sldId="2147470304"/>
            <ac:spMk id="12" creationId="{80EB3E3A-DC78-ABE6-879D-8B353DCFDA40}"/>
          </ac:spMkLst>
        </pc:spChg>
        <pc:spChg chg="mod">
          <ac:chgData name="Alexandre Zanetti de Almeida" userId="129d4ce6-e715-4d33-b4c4-312f1656225b" providerId="ADAL" clId="{C9FC0906-2A6D-45D2-9E77-CF45965F917E}" dt="2025-10-24T11:34:50.306" v="225" actId="20577"/>
          <ac:spMkLst>
            <pc:docMk/>
            <pc:sldMk cId="1940508740" sldId="2147470304"/>
            <ac:spMk id="16" creationId="{EC4455BA-D3E9-9793-68CD-C3583A4E6304}"/>
          </ac:spMkLst>
        </pc:spChg>
        <pc:spChg chg="mod">
          <ac:chgData name="Alexandre Zanetti de Almeida" userId="129d4ce6-e715-4d33-b4c4-312f1656225b" providerId="ADAL" clId="{C9FC0906-2A6D-45D2-9E77-CF45965F917E}" dt="2025-10-24T11:36:57.762" v="359" actId="20577"/>
          <ac:spMkLst>
            <pc:docMk/>
            <pc:sldMk cId="1940508740" sldId="2147470304"/>
            <ac:spMk id="28" creationId="{C52088BD-E241-32F3-D401-EA5F267A951F}"/>
          </ac:spMkLst>
        </pc:spChg>
      </pc:sldChg>
      <pc:sldChg chg="modSp mod">
        <pc:chgData name="Alexandre Zanetti de Almeida" userId="129d4ce6-e715-4d33-b4c4-312f1656225b" providerId="ADAL" clId="{C9FC0906-2A6D-45D2-9E77-CF45965F917E}" dt="2025-10-24T11:35:39.155" v="232" actId="6549"/>
        <pc:sldMkLst>
          <pc:docMk/>
          <pc:sldMk cId="666269910" sldId="2147470305"/>
        </pc:sldMkLst>
        <pc:spChg chg="mod">
          <ac:chgData name="Alexandre Zanetti de Almeida" userId="129d4ce6-e715-4d33-b4c4-312f1656225b" providerId="ADAL" clId="{C9FC0906-2A6D-45D2-9E77-CF45965F917E}" dt="2025-10-24T11:35:04.906" v="227" actId="404"/>
          <ac:spMkLst>
            <pc:docMk/>
            <pc:sldMk cId="666269910" sldId="2147470305"/>
            <ac:spMk id="16" creationId="{E22DBF5B-D60A-683E-6EEC-8AA9185B7D62}"/>
          </ac:spMkLst>
        </pc:spChg>
        <pc:spChg chg="mod">
          <ac:chgData name="Alexandre Zanetti de Almeida" userId="129d4ce6-e715-4d33-b4c4-312f1656225b" providerId="ADAL" clId="{C9FC0906-2A6D-45D2-9E77-CF45965F917E}" dt="2025-10-24T11:35:39.155" v="232" actId="6549"/>
          <ac:spMkLst>
            <pc:docMk/>
            <pc:sldMk cId="666269910" sldId="2147470305"/>
            <ac:spMk id="56" creationId="{48268944-49C7-E857-A8D6-9154D0C3A4E5}"/>
          </ac:spMkLst>
        </pc:spChg>
      </pc:sldChg>
      <pc:sldChg chg="modSp mod">
        <pc:chgData name="Alexandre Zanetti de Almeida" userId="129d4ce6-e715-4d33-b4c4-312f1656225b" providerId="ADAL" clId="{C9FC0906-2A6D-45D2-9E77-CF45965F917E}" dt="2025-10-24T11:36:05.203" v="268"/>
        <pc:sldMkLst>
          <pc:docMk/>
          <pc:sldMk cId="2230261567" sldId="2147470306"/>
        </pc:sldMkLst>
        <pc:spChg chg="mod">
          <ac:chgData name="Alexandre Zanetti de Almeida" userId="129d4ce6-e715-4d33-b4c4-312f1656225b" providerId="ADAL" clId="{C9FC0906-2A6D-45D2-9E77-CF45965F917E}" dt="2025-10-24T11:35:53.905" v="266" actId="20577"/>
          <ac:spMkLst>
            <pc:docMk/>
            <pc:sldMk cId="2230261567" sldId="2147470306"/>
            <ac:spMk id="13" creationId="{4D54B93D-E70C-11A6-3E95-3C2DA3641534}"/>
          </ac:spMkLst>
        </pc:spChg>
        <pc:spChg chg="mod">
          <ac:chgData name="Alexandre Zanetti de Almeida" userId="129d4ce6-e715-4d33-b4c4-312f1656225b" providerId="ADAL" clId="{C9FC0906-2A6D-45D2-9E77-CF45965F917E}" dt="2025-10-24T11:36:02.501" v="267"/>
          <ac:spMkLst>
            <pc:docMk/>
            <pc:sldMk cId="2230261567" sldId="2147470306"/>
            <ac:spMk id="15" creationId="{6C9D90A7-DE59-24DD-2095-E5827D4C1051}"/>
          </ac:spMkLst>
        </pc:spChg>
        <pc:spChg chg="mod">
          <ac:chgData name="Alexandre Zanetti de Almeida" userId="129d4ce6-e715-4d33-b4c4-312f1656225b" providerId="ADAL" clId="{C9FC0906-2A6D-45D2-9E77-CF45965F917E}" dt="2025-10-24T11:35:21.359" v="229" actId="404"/>
          <ac:spMkLst>
            <pc:docMk/>
            <pc:sldMk cId="2230261567" sldId="2147470306"/>
            <ac:spMk id="16" creationId="{BC28EA8F-0B64-5CFD-35E7-8571FA4E816E}"/>
          </ac:spMkLst>
        </pc:spChg>
        <pc:spChg chg="mod">
          <ac:chgData name="Alexandre Zanetti de Almeida" userId="129d4ce6-e715-4d33-b4c4-312f1656225b" providerId="ADAL" clId="{C9FC0906-2A6D-45D2-9E77-CF45965F917E}" dt="2025-10-24T11:36:05.203" v="268"/>
          <ac:spMkLst>
            <pc:docMk/>
            <pc:sldMk cId="2230261567" sldId="2147470306"/>
            <ac:spMk id="56" creationId="{1ABE4715-E03E-ACCA-0C50-6C033CA1E1DD}"/>
          </ac:spMkLst>
        </pc:spChg>
      </pc:sldChg>
    </pc:docChg>
  </pc:docChgLst>
  <pc:docChgLst>
    <pc:chgData name="Alexandre Zanetti de Almeida" userId="129d4ce6-e715-4d33-b4c4-312f1656225b" providerId="ADAL" clId="{BECA18A6-594E-4578-8AB9-5C690EC3EA32}"/>
    <pc:docChg chg="undo redo custSel addSld delSld modSld sldOrd modSection">
      <pc:chgData name="Alexandre Zanetti de Almeida" userId="129d4ce6-e715-4d33-b4c4-312f1656225b" providerId="ADAL" clId="{BECA18A6-594E-4578-8AB9-5C690EC3EA32}" dt="2025-07-24T10:57:59.141" v="2479"/>
      <pc:docMkLst>
        <pc:docMk/>
      </pc:docMkLst>
      <pc:sldChg chg="modSp mod">
        <pc:chgData name="Alexandre Zanetti de Almeida" userId="129d4ce6-e715-4d33-b4c4-312f1656225b" providerId="ADAL" clId="{BECA18A6-594E-4578-8AB9-5C690EC3EA32}" dt="2025-07-23T10:53:15.585" v="1880" actId="20577"/>
        <pc:sldMkLst>
          <pc:docMk/>
          <pc:sldMk cId="3565198220" sldId="257"/>
        </pc:sldMkLst>
      </pc:sldChg>
      <pc:sldChg chg="addSp delSp modSp mod ord delAnim modAnim">
        <pc:chgData name="Alexandre Zanetti de Almeida" userId="129d4ce6-e715-4d33-b4c4-312f1656225b" providerId="ADAL" clId="{BECA18A6-594E-4578-8AB9-5C690EC3EA32}" dt="2025-07-24T10:57:59.141" v="2479"/>
        <pc:sldMkLst>
          <pc:docMk/>
          <pc:sldMk cId="3918225123" sldId="2147470233"/>
        </pc:sldMkLst>
      </pc:sldChg>
      <pc:sldChg chg="del">
        <pc:chgData name="Alexandre Zanetti de Almeida" userId="129d4ce6-e715-4d33-b4c4-312f1656225b" providerId="ADAL" clId="{BECA18A6-594E-4578-8AB9-5C690EC3EA32}" dt="2025-06-30T14:13:48.061" v="1065" actId="47"/>
        <pc:sldMkLst>
          <pc:docMk/>
          <pc:sldMk cId="1880917490" sldId="2147470250"/>
        </pc:sldMkLst>
      </pc:sldChg>
      <pc:sldChg chg="del">
        <pc:chgData name="Alexandre Zanetti de Almeida" userId="129d4ce6-e715-4d33-b4c4-312f1656225b" providerId="ADAL" clId="{BECA18A6-594E-4578-8AB9-5C690EC3EA32}" dt="2025-06-30T14:13:48.657" v="1066" actId="47"/>
        <pc:sldMkLst>
          <pc:docMk/>
          <pc:sldMk cId="4272279068" sldId="2147470251"/>
        </pc:sldMkLst>
      </pc:sldChg>
      <pc:sldChg chg="del">
        <pc:chgData name="Alexandre Zanetti de Almeida" userId="129d4ce6-e715-4d33-b4c4-312f1656225b" providerId="ADAL" clId="{BECA18A6-594E-4578-8AB9-5C690EC3EA32}" dt="2025-06-18T11:50:54.900" v="8" actId="47"/>
        <pc:sldMkLst>
          <pc:docMk/>
          <pc:sldMk cId="1080730617" sldId="2147470284"/>
        </pc:sldMkLst>
      </pc:sldChg>
      <pc:sldChg chg="addSp modSp del mod">
        <pc:chgData name="Alexandre Zanetti de Almeida" userId="129d4ce6-e715-4d33-b4c4-312f1656225b" providerId="ADAL" clId="{BECA18A6-594E-4578-8AB9-5C690EC3EA32}" dt="2025-06-27T18:21:45.926" v="867" actId="47"/>
        <pc:sldMkLst>
          <pc:docMk/>
          <pc:sldMk cId="4262446273" sldId="2147470285"/>
        </pc:sldMkLst>
      </pc:sldChg>
      <pc:sldChg chg="del">
        <pc:chgData name="Alexandre Zanetti de Almeida" userId="129d4ce6-e715-4d33-b4c4-312f1656225b" providerId="ADAL" clId="{BECA18A6-594E-4578-8AB9-5C690EC3EA32}" dt="2025-06-18T11:50:57.973" v="9" actId="47"/>
        <pc:sldMkLst>
          <pc:docMk/>
          <pc:sldMk cId="3886147896" sldId="2147470286"/>
        </pc:sldMkLst>
      </pc:sldChg>
      <pc:sldChg chg="ord">
        <pc:chgData name="Alexandre Zanetti de Almeida" userId="129d4ce6-e715-4d33-b4c4-312f1656225b" providerId="ADAL" clId="{BECA18A6-594E-4578-8AB9-5C690EC3EA32}" dt="2025-07-24T10:56:48.254" v="2476" actId="20578"/>
        <pc:sldMkLst>
          <pc:docMk/>
          <pc:sldMk cId="3456330198" sldId="2147470287"/>
        </pc:sldMkLst>
      </pc:sldChg>
      <pc:sldChg chg="del">
        <pc:chgData name="Alexandre Zanetti de Almeida" userId="129d4ce6-e715-4d33-b4c4-312f1656225b" providerId="ADAL" clId="{BECA18A6-594E-4578-8AB9-5C690EC3EA32}" dt="2025-06-18T11:51:00.904" v="10" actId="47"/>
        <pc:sldMkLst>
          <pc:docMk/>
          <pc:sldMk cId="3779101396" sldId="2147470290"/>
        </pc:sldMkLst>
      </pc:sldChg>
      <pc:sldChg chg="modSp del mod">
        <pc:chgData name="Alexandre Zanetti de Almeida" userId="129d4ce6-e715-4d33-b4c4-312f1656225b" providerId="ADAL" clId="{BECA18A6-594E-4578-8AB9-5C690EC3EA32}" dt="2025-06-18T11:52:49.325" v="29" actId="47"/>
        <pc:sldMkLst>
          <pc:docMk/>
          <pc:sldMk cId="2942458670" sldId="2147470291"/>
        </pc:sldMkLst>
      </pc:sldChg>
      <pc:sldChg chg="del">
        <pc:chgData name="Alexandre Zanetti de Almeida" userId="129d4ce6-e715-4d33-b4c4-312f1656225b" providerId="ADAL" clId="{BECA18A6-594E-4578-8AB9-5C690EC3EA32}" dt="2025-06-18T11:51:01.947" v="11" actId="47"/>
        <pc:sldMkLst>
          <pc:docMk/>
          <pc:sldMk cId="735740456" sldId="2147470292"/>
        </pc:sldMkLst>
      </pc:sldChg>
      <pc:sldChg chg="addSp modSp del mod">
        <pc:chgData name="Alexandre Zanetti de Almeida" userId="129d4ce6-e715-4d33-b4c4-312f1656225b" providerId="ADAL" clId="{BECA18A6-594E-4578-8AB9-5C690EC3EA32}" dt="2025-06-27T18:24:05.584" v="951" actId="47"/>
        <pc:sldMkLst>
          <pc:docMk/>
          <pc:sldMk cId="3951554011" sldId="2147470293"/>
        </pc:sldMkLst>
      </pc:sldChg>
      <pc:sldChg chg="del">
        <pc:chgData name="Alexandre Zanetti de Almeida" userId="129d4ce6-e715-4d33-b4c4-312f1656225b" providerId="ADAL" clId="{BECA18A6-594E-4578-8AB9-5C690EC3EA32}" dt="2025-06-18T11:51:07.247" v="12" actId="47"/>
        <pc:sldMkLst>
          <pc:docMk/>
          <pc:sldMk cId="3275488672" sldId="2147470294"/>
        </pc:sldMkLst>
      </pc:sldChg>
      <pc:sldChg chg="del">
        <pc:chgData name="Alexandre Zanetti de Almeida" userId="129d4ce6-e715-4d33-b4c4-312f1656225b" providerId="ADAL" clId="{BECA18A6-594E-4578-8AB9-5C690EC3EA32}" dt="2025-06-18T11:51:08.556" v="13" actId="47"/>
        <pc:sldMkLst>
          <pc:docMk/>
          <pc:sldMk cId="538638572" sldId="2147470297"/>
        </pc:sldMkLst>
      </pc:sldChg>
      <pc:sldChg chg="addSp modSp del mod">
        <pc:chgData name="Alexandre Zanetti de Almeida" userId="129d4ce6-e715-4d33-b4c4-312f1656225b" providerId="ADAL" clId="{BECA18A6-594E-4578-8AB9-5C690EC3EA32}" dt="2025-06-30T14:13:42.474" v="1064" actId="47"/>
        <pc:sldMkLst>
          <pc:docMk/>
          <pc:sldMk cId="155112765" sldId="2147470298"/>
        </pc:sldMkLst>
      </pc:sldChg>
      <pc:sldChg chg="addSp delSp modSp new del mod">
        <pc:chgData name="Alexandre Zanetti de Almeida" userId="129d4ce6-e715-4d33-b4c4-312f1656225b" providerId="ADAL" clId="{BECA18A6-594E-4578-8AB9-5C690EC3EA32}" dt="2025-06-20T13:57:50.820" v="572" actId="47"/>
        <pc:sldMkLst>
          <pc:docMk/>
          <pc:sldMk cId="1621631840" sldId="2147470299"/>
        </pc:sldMkLst>
      </pc:sldChg>
      <pc:sldChg chg="addSp delSp modSp add del mod">
        <pc:chgData name="Alexandre Zanetti de Almeida" userId="129d4ce6-e715-4d33-b4c4-312f1656225b" providerId="ADAL" clId="{BECA18A6-594E-4578-8AB9-5C690EC3EA32}" dt="2025-06-27T18:21:49.721" v="868" actId="47"/>
        <pc:sldMkLst>
          <pc:docMk/>
          <pc:sldMk cId="2032801713" sldId="2147470300"/>
        </pc:sldMkLst>
      </pc:sldChg>
      <pc:sldChg chg="addSp delSp modSp add mod modShow">
        <pc:chgData name="Alexandre Zanetti de Almeida" userId="129d4ce6-e715-4d33-b4c4-312f1656225b" providerId="ADAL" clId="{BECA18A6-594E-4578-8AB9-5C690EC3EA32}" dt="2025-07-03T11:26:55.858" v="1876" actId="20577"/>
        <pc:sldMkLst>
          <pc:docMk/>
          <pc:sldMk cId="1632712217" sldId="2147470301"/>
        </pc:sldMkLst>
      </pc:sldChg>
      <pc:sldChg chg="addSp delSp modSp add mod modShow">
        <pc:chgData name="Alexandre Zanetti de Almeida" userId="129d4ce6-e715-4d33-b4c4-312f1656225b" providerId="ADAL" clId="{BECA18A6-594E-4578-8AB9-5C690EC3EA32}" dt="2025-07-02T11:37:43.090" v="1139" actId="729"/>
        <pc:sldMkLst>
          <pc:docMk/>
          <pc:sldMk cId="1783460189" sldId="2147470302"/>
        </pc:sldMkLst>
      </pc:sldChg>
      <pc:sldChg chg="addSp delSp modSp add mod modShow">
        <pc:chgData name="Alexandre Zanetti de Almeida" userId="129d4ce6-e715-4d33-b4c4-312f1656225b" providerId="ADAL" clId="{BECA18A6-594E-4578-8AB9-5C690EC3EA32}" dt="2025-07-02T11:37:43.090" v="1139" actId="729"/>
        <pc:sldMkLst>
          <pc:docMk/>
          <pc:sldMk cId="3660087686" sldId="2147470303"/>
        </pc:sldMkLst>
      </pc:sldChg>
      <pc:sldChg chg="addSp delSp modSp add mod">
        <pc:chgData name="Alexandre Zanetti de Almeida" userId="129d4ce6-e715-4d33-b4c4-312f1656225b" providerId="ADAL" clId="{BECA18A6-594E-4578-8AB9-5C690EC3EA32}" dt="2025-07-24T10:40:27.824" v="2425"/>
        <pc:sldMkLst>
          <pc:docMk/>
          <pc:sldMk cId="1940508740" sldId="2147470304"/>
        </pc:sldMkLst>
      </pc:sldChg>
      <pc:sldChg chg="addSp delSp modSp add mod">
        <pc:chgData name="Alexandre Zanetti de Almeida" userId="129d4ce6-e715-4d33-b4c4-312f1656225b" providerId="ADAL" clId="{BECA18A6-594E-4578-8AB9-5C690EC3EA32}" dt="2025-07-23T10:53:44.633" v="1893"/>
        <pc:sldMkLst>
          <pc:docMk/>
          <pc:sldMk cId="666269910" sldId="2147470305"/>
        </pc:sldMkLst>
      </pc:sldChg>
      <pc:sldChg chg="addSp delSp modSp add mod">
        <pc:chgData name="Alexandre Zanetti de Almeida" userId="129d4ce6-e715-4d33-b4c4-312f1656225b" providerId="ADAL" clId="{BECA18A6-594E-4578-8AB9-5C690EC3EA32}" dt="2025-07-24T10:56:48.096" v="2475" actId="20577"/>
        <pc:sldMkLst>
          <pc:docMk/>
          <pc:sldMk cId="2230261567" sldId="2147470306"/>
        </pc:sldMkLst>
      </pc:sldChg>
      <pc:sldChg chg="add">
        <pc:chgData name="Alexandre Zanetti de Almeida" userId="129d4ce6-e715-4d33-b4c4-312f1656225b" providerId="ADAL" clId="{BECA18A6-594E-4578-8AB9-5C690EC3EA32}" dt="2025-07-23T10:54:01.403" v="1900" actId="2890"/>
        <pc:sldMkLst>
          <pc:docMk/>
          <pc:sldMk cId="229337627" sldId="2147470307"/>
        </pc:sldMkLst>
      </pc:sldChg>
      <pc:sldChg chg="new del ord">
        <pc:chgData name="Alexandre Zanetti de Almeida" userId="129d4ce6-e715-4d33-b4c4-312f1656225b" providerId="ADAL" clId="{BECA18A6-594E-4578-8AB9-5C690EC3EA32}" dt="2025-07-23T10:53:59.447" v="1899" actId="680"/>
        <pc:sldMkLst>
          <pc:docMk/>
          <pc:sldMk cId="469112513" sldId="2147470307"/>
        </pc:sldMkLst>
      </pc:sldChg>
    </pc:docChg>
  </pc:docChgLst>
  <pc:docChgLst>
    <pc:chgData name="Alexandre Zanetti de Almeida" userId="129d4ce6-e715-4d33-b4c4-312f1656225b" providerId="ADAL" clId="{1DB5D1E9-92EF-467B-9A09-A70ED12F8C7B}"/>
    <pc:docChg chg="undo redo custSel addSld delSld modSld sldOrd modSection">
      <pc:chgData name="Alexandre Zanetti de Almeida" userId="129d4ce6-e715-4d33-b4c4-312f1656225b" providerId="ADAL" clId="{1DB5D1E9-92EF-467B-9A09-A70ED12F8C7B}" dt="2025-05-23T20:34:52.447" v="1009" actId="20577"/>
      <pc:docMkLst>
        <pc:docMk/>
      </pc:docMkLst>
      <pc:sldChg chg="modSp mod">
        <pc:chgData name="Alexandre Zanetti de Almeida" userId="129d4ce6-e715-4d33-b4c4-312f1656225b" providerId="ADAL" clId="{1DB5D1E9-92EF-467B-9A09-A70ED12F8C7B}" dt="2025-05-21T10:00:29.534" v="12" actId="6549"/>
        <pc:sldMkLst>
          <pc:docMk/>
          <pc:sldMk cId="3565198220" sldId="257"/>
        </pc:sldMkLst>
      </pc:sldChg>
      <pc:sldChg chg="del">
        <pc:chgData name="Alexandre Zanetti de Almeida" userId="129d4ce6-e715-4d33-b4c4-312f1656225b" providerId="ADAL" clId="{1DB5D1E9-92EF-467B-9A09-A70ED12F8C7B}" dt="2025-05-21T11:54:30.803" v="282" actId="2696"/>
        <pc:sldMkLst>
          <pc:docMk/>
          <pc:sldMk cId="2262049528" sldId="2147470239"/>
        </pc:sldMkLst>
      </pc:sldChg>
      <pc:sldChg chg="ord">
        <pc:chgData name="Alexandre Zanetti de Almeida" userId="129d4ce6-e715-4d33-b4c4-312f1656225b" providerId="ADAL" clId="{1DB5D1E9-92EF-467B-9A09-A70ED12F8C7B}" dt="2025-05-23T12:42:16.307" v="699"/>
        <pc:sldMkLst>
          <pc:docMk/>
          <pc:sldMk cId="1880917490" sldId="2147470250"/>
        </pc:sldMkLst>
      </pc:sldChg>
      <pc:sldChg chg="mod ord modShow">
        <pc:chgData name="Alexandre Zanetti de Almeida" userId="129d4ce6-e715-4d33-b4c4-312f1656225b" providerId="ADAL" clId="{1DB5D1E9-92EF-467B-9A09-A70ED12F8C7B}" dt="2025-05-23T12:42:16.307" v="699"/>
        <pc:sldMkLst>
          <pc:docMk/>
          <pc:sldMk cId="4272279068" sldId="2147470251"/>
        </pc:sldMkLst>
      </pc:sldChg>
      <pc:sldChg chg="delSp add del setBg delDesignElem">
        <pc:chgData name="Alexandre Zanetti de Almeida" userId="129d4ce6-e715-4d33-b4c4-312f1656225b" providerId="ADAL" clId="{1DB5D1E9-92EF-467B-9A09-A70ED12F8C7B}" dt="2025-05-21T10:01:58.926" v="23" actId="47"/>
        <pc:sldMkLst>
          <pc:docMk/>
          <pc:sldMk cId="2817282654" sldId="2147470283"/>
        </pc:sldMkLst>
      </pc:sldChg>
      <pc:sldChg chg="addSp delSp modSp add mod modShow">
        <pc:chgData name="Alexandre Zanetti de Almeida" userId="129d4ce6-e715-4d33-b4c4-312f1656225b" providerId="ADAL" clId="{1DB5D1E9-92EF-467B-9A09-A70ED12F8C7B}" dt="2025-05-21T11:42:34.495" v="250" actId="729"/>
        <pc:sldMkLst>
          <pc:docMk/>
          <pc:sldMk cId="1080730617" sldId="2147470284"/>
        </pc:sldMkLst>
      </pc:sldChg>
      <pc:sldChg chg="new del">
        <pc:chgData name="Alexandre Zanetti de Almeida" userId="129d4ce6-e715-4d33-b4c4-312f1656225b" providerId="ADAL" clId="{1DB5D1E9-92EF-467B-9A09-A70ED12F8C7B}" dt="2025-05-21T11:38:11.001" v="158" actId="680"/>
        <pc:sldMkLst>
          <pc:docMk/>
          <pc:sldMk cId="291313348" sldId="2147470285"/>
        </pc:sldMkLst>
      </pc:sldChg>
      <pc:sldChg chg="modSp add mod">
        <pc:chgData name="Alexandre Zanetti de Almeida" userId="129d4ce6-e715-4d33-b4c4-312f1656225b" providerId="ADAL" clId="{1DB5D1E9-92EF-467B-9A09-A70ED12F8C7B}" dt="2025-05-23T20:34:52.447" v="1009" actId="20577"/>
        <pc:sldMkLst>
          <pc:docMk/>
          <pc:sldMk cId="4262446273" sldId="2147470285"/>
        </pc:sldMkLst>
      </pc:sldChg>
      <pc:sldChg chg="modSp add mod modShow">
        <pc:chgData name="Alexandre Zanetti de Almeida" userId="129d4ce6-e715-4d33-b4c4-312f1656225b" providerId="ADAL" clId="{1DB5D1E9-92EF-467B-9A09-A70ED12F8C7B}" dt="2025-05-23T12:18:08.557" v="477"/>
        <pc:sldMkLst>
          <pc:docMk/>
          <pc:sldMk cId="3886147896" sldId="2147470286"/>
        </pc:sldMkLst>
      </pc:sldChg>
      <pc:sldChg chg="addSp delSp modSp add mod">
        <pc:chgData name="Alexandre Zanetti de Almeida" userId="129d4ce6-e715-4d33-b4c4-312f1656225b" providerId="ADAL" clId="{1DB5D1E9-92EF-467B-9A09-A70ED12F8C7B}" dt="2025-05-21T11:56:44.288" v="290" actId="14734"/>
        <pc:sldMkLst>
          <pc:docMk/>
          <pc:sldMk cId="3456330198" sldId="2147470287"/>
        </pc:sldMkLst>
      </pc:sldChg>
      <pc:sldChg chg="modSp add del mod">
        <pc:chgData name="Alexandre Zanetti de Almeida" userId="129d4ce6-e715-4d33-b4c4-312f1656225b" providerId="ADAL" clId="{1DB5D1E9-92EF-467B-9A09-A70ED12F8C7B}" dt="2025-05-23T12:42:07.869" v="697" actId="47"/>
        <pc:sldMkLst>
          <pc:docMk/>
          <pc:sldMk cId="2716973536" sldId="2147470288"/>
        </pc:sldMkLst>
      </pc:sldChg>
      <pc:sldChg chg="delSp add del setBg delDesignElem">
        <pc:chgData name="Alexandre Zanetti de Almeida" userId="129d4ce6-e715-4d33-b4c4-312f1656225b" providerId="ADAL" clId="{1DB5D1E9-92EF-467B-9A09-A70ED12F8C7B}" dt="2025-05-21T11:53:54.832" v="276" actId="47"/>
        <pc:sldMkLst>
          <pc:docMk/>
          <pc:sldMk cId="4066329794" sldId="2147470288"/>
        </pc:sldMkLst>
      </pc:sldChg>
      <pc:sldChg chg="delSp add del setBg delDesignElem">
        <pc:chgData name="Alexandre Zanetti de Almeida" userId="129d4ce6-e715-4d33-b4c4-312f1656225b" providerId="ADAL" clId="{1DB5D1E9-92EF-467B-9A09-A70ED12F8C7B}" dt="2025-05-23T12:38:54.557" v="631" actId="47"/>
        <pc:sldMkLst>
          <pc:docMk/>
          <pc:sldMk cId="20244889" sldId="2147470289"/>
        </pc:sldMkLst>
      </pc:sldChg>
      <pc:sldChg chg="addSp delSp modSp add del setBg delDesignElem">
        <pc:chgData name="Alexandre Zanetti de Almeida" userId="129d4ce6-e715-4d33-b4c4-312f1656225b" providerId="ADAL" clId="{1DB5D1E9-92EF-467B-9A09-A70ED12F8C7B}" dt="2025-05-23T12:53:47.965" v="741" actId="47"/>
        <pc:sldMkLst>
          <pc:docMk/>
          <pc:sldMk cId="998295101" sldId="2147470289"/>
        </pc:sldMkLst>
      </pc:sldChg>
      <pc:sldChg chg="addSp delSp modSp add mod modShow">
        <pc:chgData name="Alexandre Zanetti de Almeida" userId="129d4ce6-e715-4d33-b4c4-312f1656225b" providerId="ADAL" clId="{1DB5D1E9-92EF-467B-9A09-A70ED12F8C7B}" dt="2025-05-23T12:41:27.709" v="692" actId="729"/>
        <pc:sldMkLst>
          <pc:docMk/>
          <pc:sldMk cId="3779101396" sldId="2147470290"/>
        </pc:sldMkLst>
      </pc:sldChg>
      <pc:sldChg chg="modSp add mod">
        <pc:chgData name="Alexandre Zanetti de Almeida" userId="129d4ce6-e715-4d33-b4c4-312f1656225b" providerId="ADAL" clId="{1DB5D1E9-92EF-467B-9A09-A70ED12F8C7B}" dt="2025-05-23T12:41:54.801" v="696"/>
        <pc:sldMkLst>
          <pc:docMk/>
          <pc:sldMk cId="2942458670" sldId="2147470291"/>
        </pc:sldMkLst>
      </pc:sldChg>
      <pc:sldChg chg="modSp add mod modShow">
        <pc:chgData name="Alexandre Zanetti de Almeida" userId="129d4ce6-e715-4d33-b4c4-312f1656225b" providerId="ADAL" clId="{1DB5D1E9-92EF-467B-9A09-A70ED12F8C7B}" dt="2025-05-23T12:41:37.288" v="694" actId="729"/>
        <pc:sldMkLst>
          <pc:docMk/>
          <pc:sldMk cId="735740456" sldId="2147470292"/>
        </pc:sldMkLst>
      </pc:sldChg>
      <pc:sldChg chg="add">
        <pc:chgData name="Alexandre Zanetti de Almeida" userId="129d4ce6-e715-4d33-b4c4-312f1656225b" providerId="ADAL" clId="{1DB5D1E9-92EF-467B-9A09-A70ED12F8C7B}" dt="2025-05-23T12:46:44.482" v="700" actId="2890"/>
        <pc:sldMkLst>
          <pc:docMk/>
          <pc:sldMk cId="3951554011" sldId="2147470293"/>
        </pc:sldMkLst>
      </pc:sldChg>
      <pc:sldChg chg="addSp delSp modSp add mod modShow">
        <pc:chgData name="Alexandre Zanetti de Almeida" userId="129d4ce6-e715-4d33-b4c4-312f1656225b" providerId="ADAL" clId="{1DB5D1E9-92EF-467B-9A09-A70ED12F8C7B}" dt="2025-05-23T12:54:06.849" v="747" actId="729"/>
        <pc:sldMkLst>
          <pc:docMk/>
          <pc:sldMk cId="3275488672" sldId="2147470294"/>
        </pc:sldMkLst>
      </pc:sldChg>
      <pc:sldChg chg="delSp add del setBg delDesignElem">
        <pc:chgData name="Alexandre Zanetti de Almeida" userId="129d4ce6-e715-4d33-b4c4-312f1656225b" providerId="ADAL" clId="{1DB5D1E9-92EF-467B-9A09-A70ED12F8C7B}" dt="2025-05-23T12:54:17.171" v="749" actId="47"/>
        <pc:sldMkLst>
          <pc:docMk/>
          <pc:sldMk cId="117742514" sldId="2147470295"/>
        </pc:sldMkLst>
      </pc:sldChg>
      <pc:sldChg chg="delSp add del setBg delDesignElem">
        <pc:chgData name="Alexandre Zanetti de Almeida" userId="129d4ce6-e715-4d33-b4c4-312f1656225b" providerId="ADAL" clId="{1DB5D1E9-92EF-467B-9A09-A70ED12F8C7B}" dt="2025-05-23T12:54:40.202" v="754" actId="47"/>
        <pc:sldMkLst>
          <pc:docMk/>
          <pc:sldMk cId="420519257" sldId="2147470296"/>
        </pc:sldMkLst>
      </pc:sldChg>
      <pc:sldChg chg="addSp delSp modSp add mod modShow">
        <pc:chgData name="Alexandre Zanetti de Almeida" userId="129d4ce6-e715-4d33-b4c4-312f1656225b" providerId="ADAL" clId="{1DB5D1E9-92EF-467B-9A09-A70ED12F8C7B}" dt="2025-05-23T12:58:34.097" v="938" actId="21"/>
        <pc:sldMkLst>
          <pc:docMk/>
          <pc:sldMk cId="538638572" sldId="2147470297"/>
        </pc:sldMkLst>
      </pc:sldChg>
      <pc:sldChg chg="add del">
        <pc:chgData name="Alexandre Zanetti de Almeida" userId="129d4ce6-e715-4d33-b4c4-312f1656225b" providerId="ADAL" clId="{1DB5D1E9-92EF-467B-9A09-A70ED12F8C7B}" dt="2025-05-23T12:53:32.579" v="736" actId="2890"/>
        <pc:sldMkLst>
          <pc:docMk/>
          <pc:sldMk cId="4094714961" sldId="2147470297"/>
        </pc:sldMkLst>
      </pc:sldChg>
      <pc:sldChg chg="addSp delSp modSp add mod">
        <pc:chgData name="Alexandre Zanetti de Almeida" userId="129d4ce6-e715-4d33-b4c4-312f1656225b" providerId="ADAL" clId="{1DB5D1E9-92EF-467B-9A09-A70ED12F8C7B}" dt="2025-05-23T12:59:01.231" v="957" actId="20577"/>
        <pc:sldMkLst>
          <pc:docMk/>
          <pc:sldMk cId="155112765" sldId="2147470298"/>
        </pc:sldMkLst>
      </pc:sldChg>
    </pc:docChg>
  </pc:docChgLst>
  <pc:docChgLst>
    <pc:chgData name="Alexandre Zanetti de Almeida" userId="129d4ce6-e715-4d33-b4c4-312f1656225b" providerId="ADAL" clId="{72D30366-B7DE-47DF-B27F-990419579B41}"/>
    <pc:docChg chg="custSel modSld">
      <pc:chgData name="Alexandre Zanetti de Almeida" userId="129d4ce6-e715-4d33-b4c4-312f1656225b" providerId="ADAL" clId="{72D30366-B7DE-47DF-B27F-990419579B41}" dt="2025-08-13T12:03:21.234" v="35" actId="6549"/>
      <pc:docMkLst>
        <pc:docMk/>
      </pc:docMkLst>
      <pc:sldChg chg="modSp mod">
        <pc:chgData name="Alexandre Zanetti de Almeida" userId="129d4ce6-e715-4d33-b4c4-312f1656225b" providerId="ADAL" clId="{72D30366-B7DE-47DF-B27F-990419579B41}" dt="2025-08-13T12:02:07.543" v="13" actId="5793"/>
        <pc:sldMkLst>
          <pc:docMk/>
          <pc:sldMk cId="3565198220" sldId="257"/>
        </pc:sldMkLst>
      </pc:sldChg>
      <pc:sldChg chg="modSp mod">
        <pc:chgData name="Alexandre Zanetti de Almeida" userId="129d4ce6-e715-4d33-b4c4-312f1656225b" providerId="ADAL" clId="{72D30366-B7DE-47DF-B27F-990419579B41}" dt="2025-08-13T12:02:25.482" v="27" actId="108"/>
        <pc:sldMkLst>
          <pc:docMk/>
          <pc:sldMk cId="1940508740" sldId="2147470304"/>
        </pc:sldMkLst>
      </pc:sldChg>
      <pc:sldChg chg="modSp mod">
        <pc:chgData name="Alexandre Zanetti de Almeida" userId="129d4ce6-e715-4d33-b4c4-312f1656225b" providerId="ADAL" clId="{72D30366-B7DE-47DF-B27F-990419579B41}" dt="2025-08-13T12:02:43.185" v="31" actId="6549"/>
        <pc:sldMkLst>
          <pc:docMk/>
          <pc:sldMk cId="666269910" sldId="2147470305"/>
        </pc:sldMkLst>
      </pc:sldChg>
      <pc:sldChg chg="modSp mod">
        <pc:chgData name="Alexandre Zanetti de Almeida" userId="129d4ce6-e715-4d33-b4c4-312f1656225b" providerId="ADAL" clId="{72D30366-B7DE-47DF-B27F-990419579B41}" dt="2025-08-13T12:03:21.234" v="35" actId="6549"/>
        <pc:sldMkLst>
          <pc:docMk/>
          <pc:sldMk cId="2230261567" sldId="2147470306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C5CDC89-5FE6-4B34-9A5D-1E08CFC37286}" type="datetimeFigureOut">
              <a:rPr lang="pt-BR" smtClean="0"/>
              <a:t>24/10/2025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EEA83E-3FD9-45DF-9909-761FD3E0C438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911737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8D4A829-EE25-924A-A042-A385156E74F1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31345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8D4A829-EE25-924A-A042-A385156E74F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73913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lang="en-US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Tx/>
              <a:buChar char="-"/>
            </a:pPr>
            <a:endParaRPr lang="en-US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103390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22251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f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f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f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AEA2B7A-6F32-7178-694C-235973298C5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D4260B06-0242-3870-2DA9-940B2F8CD24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DA4491C7-1AFA-DB47-3818-28766B6841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24/10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9D38970A-3E98-555B-992A-F605A4BE35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64281B37-251D-2ACB-4D2E-BDCC63D331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261958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BBB5C74-5447-4FC8-E41B-FDDF4D79F4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E1A98CF0-C7DB-BCB5-28B1-149877868C3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5483D8D0-1A84-4100-8A76-69A1D6BB7A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24/10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04C227D0-7D00-873A-90E4-1C56AAF587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5D20D776-820A-884A-081C-72CEA34465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62274934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: title, text (2/4), content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63040"/>
            <a:ext cx="2438400" cy="4669536"/>
          </a:xfrm>
        </p:spPr>
        <p:txBody>
          <a:bodyPr/>
          <a:lstStyle>
            <a:lvl1pPr>
              <a:defRPr sz="2133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352800" y="1499616"/>
            <a:ext cx="2438400" cy="4608576"/>
          </a:xfrm>
        </p:spPr>
        <p:txBody>
          <a:bodyPr/>
          <a:lstStyle>
            <a:lvl1pPr>
              <a:defRPr sz="1867"/>
            </a:lvl1pPr>
            <a:lvl2pPr marL="0" indent="0">
              <a:buNone/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52762915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63040"/>
            <a:ext cx="2438400" cy="4669536"/>
          </a:xfrm>
        </p:spPr>
        <p:txBody>
          <a:bodyPr/>
          <a:lstStyle>
            <a:lvl1pPr>
              <a:defRPr sz="2133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352800" y="1488017"/>
            <a:ext cx="2438400" cy="4608576"/>
          </a:xfrm>
        </p:spPr>
        <p:txBody>
          <a:bodyPr/>
          <a:lstStyle>
            <a:lvl1pPr>
              <a:defRPr sz="1867"/>
            </a:lvl1pPr>
            <a:lvl2pPr marL="0" indent="0">
              <a:buNone/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6267189" y="1402080"/>
            <a:ext cx="5620011" cy="4608576"/>
          </a:xfrm>
        </p:spPr>
        <p:txBody>
          <a:bodyPr/>
          <a:lstStyle>
            <a:lvl1pPr marL="156629" indent="-156629">
              <a:tabLst/>
              <a:defRPr sz="3200"/>
            </a:lvl1pPr>
            <a:lvl2pPr marL="0" indent="0"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862743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256033"/>
            <a:ext cx="2438400" cy="5878660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3352800" y="300567"/>
            <a:ext cx="8534400" cy="6129867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3402318318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4266685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17493847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409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5240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 sz="1467"/>
            </a:lvl1pPr>
            <a:lvl2pPr marL="230712" indent="-230712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4648348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34604" y="2914867"/>
            <a:ext cx="1722792" cy="701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3703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8D779B3C-3C2D-5F07-76E8-72E10A38E9F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E5972C9E-C0C5-45EF-1BF6-ACF5D50CFA2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7C2B988A-1510-9C84-2077-24A1BEDFA1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24/10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C8EA231A-014D-5468-EB7F-2EC80ECC75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8B1C96B8-F2DE-DC98-1F19-13C39CA7A3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6920570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text (split background)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8" name="Group 1"/>
          <p:cNvGrpSpPr/>
          <p:nvPr/>
        </p:nvGrpSpPr>
        <p:grpSpPr>
          <a:xfrm>
            <a:off x="-146307" y="-146474"/>
            <a:ext cx="12485628" cy="7152641"/>
            <a:chOff x="0" y="0"/>
            <a:chExt cx="24971254" cy="14305280"/>
          </a:xfrm>
        </p:grpSpPr>
        <p:grpSp>
          <p:nvGrpSpPr>
            <p:cNvPr id="495" name="Group 59"/>
            <p:cNvGrpSpPr/>
            <p:nvPr/>
          </p:nvGrpSpPr>
          <p:grpSpPr>
            <a:xfrm>
              <a:off x="903906" y="-1"/>
              <a:ext cx="23164620" cy="243842"/>
              <a:chOff x="0" y="0"/>
              <a:chExt cx="23164618" cy="243840"/>
            </a:xfrm>
          </p:grpSpPr>
          <p:sp>
            <p:nvSpPr>
              <p:cNvPr id="484" name="Straight Connector 92"/>
              <p:cNvSpPr/>
              <p:nvPr/>
            </p:nvSpPr>
            <p:spPr>
              <a:xfrm flipV="1">
                <a:off x="-1" y="-1"/>
                <a:ext cx="2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5" name="Straight Connector 93"/>
              <p:cNvSpPr/>
              <p:nvPr/>
            </p:nvSpPr>
            <p:spPr>
              <a:xfrm flipV="1">
                <a:off x="4876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6" name="Straight Connector 94"/>
              <p:cNvSpPr/>
              <p:nvPr/>
            </p:nvSpPr>
            <p:spPr>
              <a:xfrm flipV="1">
                <a:off x="5486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7" name="Straight Connector 95"/>
              <p:cNvSpPr/>
              <p:nvPr/>
            </p:nvSpPr>
            <p:spPr>
              <a:xfrm flipV="1">
                <a:off x="6096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8" name="Straight Connector 96"/>
              <p:cNvSpPr/>
              <p:nvPr/>
            </p:nvSpPr>
            <p:spPr>
              <a:xfrm flipV="1">
                <a:off x="10972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9" name="Straight Connector 97"/>
              <p:cNvSpPr/>
              <p:nvPr/>
            </p:nvSpPr>
            <p:spPr>
              <a:xfrm flipV="1">
                <a:off x="11582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0" name="Straight Connector 98"/>
              <p:cNvSpPr/>
              <p:nvPr/>
            </p:nvSpPr>
            <p:spPr>
              <a:xfrm flipV="1">
                <a:off x="12192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1" name="Straight Connector 99"/>
              <p:cNvSpPr/>
              <p:nvPr/>
            </p:nvSpPr>
            <p:spPr>
              <a:xfrm flipV="1">
                <a:off x="17068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2" name="Straight Connector 100"/>
              <p:cNvSpPr/>
              <p:nvPr/>
            </p:nvSpPr>
            <p:spPr>
              <a:xfrm flipV="1">
                <a:off x="176784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3" name="Straight Connector 101"/>
              <p:cNvSpPr/>
              <p:nvPr/>
            </p:nvSpPr>
            <p:spPr>
              <a:xfrm flipV="1">
                <a:off x="182880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4" name="Straight Connector 102"/>
              <p:cNvSpPr/>
              <p:nvPr/>
            </p:nvSpPr>
            <p:spPr>
              <a:xfrm flipV="1">
                <a:off x="23164618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  <p:grpSp>
          <p:nvGrpSpPr>
            <p:cNvPr id="507" name="Group 60"/>
            <p:cNvGrpSpPr/>
            <p:nvPr/>
          </p:nvGrpSpPr>
          <p:grpSpPr>
            <a:xfrm>
              <a:off x="903906" y="14061440"/>
              <a:ext cx="23164620" cy="243841"/>
              <a:chOff x="0" y="0"/>
              <a:chExt cx="23164618" cy="243840"/>
            </a:xfrm>
          </p:grpSpPr>
          <p:sp>
            <p:nvSpPr>
              <p:cNvPr id="496" name="Straight Connector 81"/>
              <p:cNvSpPr/>
              <p:nvPr/>
            </p:nvSpPr>
            <p:spPr>
              <a:xfrm flipV="1">
                <a:off x="-1" y="-1"/>
                <a:ext cx="2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7" name="Straight Connector 82"/>
              <p:cNvSpPr/>
              <p:nvPr/>
            </p:nvSpPr>
            <p:spPr>
              <a:xfrm flipV="1">
                <a:off x="4876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8" name="Straight Connector 83"/>
              <p:cNvSpPr/>
              <p:nvPr/>
            </p:nvSpPr>
            <p:spPr>
              <a:xfrm flipV="1">
                <a:off x="5486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9" name="Straight Connector 84"/>
              <p:cNvSpPr/>
              <p:nvPr/>
            </p:nvSpPr>
            <p:spPr>
              <a:xfrm flipV="1">
                <a:off x="6096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0" name="Straight Connector 85"/>
              <p:cNvSpPr/>
              <p:nvPr/>
            </p:nvSpPr>
            <p:spPr>
              <a:xfrm flipV="1">
                <a:off x="10972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1" name="Straight Connector 86"/>
              <p:cNvSpPr/>
              <p:nvPr/>
            </p:nvSpPr>
            <p:spPr>
              <a:xfrm flipV="1">
                <a:off x="11582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2" name="Straight Connector 87"/>
              <p:cNvSpPr/>
              <p:nvPr/>
            </p:nvSpPr>
            <p:spPr>
              <a:xfrm flipV="1">
                <a:off x="12192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3" name="Straight Connector 88"/>
              <p:cNvSpPr/>
              <p:nvPr/>
            </p:nvSpPr>
            <p:spPr>
              <a:xfrm flipV="1">
                <a:off x="17068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4" name="Straight Connector 89"/>
              <p:cNvSpPr/>
              <p:nvPr/>
            </p:nvSpPr>
            <p:spPr>
              <a:xfrm flipV="1">
                <a:off x="176784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5" name="Straight Connector 90"/>
              <p:cNvSpPr/>
              <p:nvPr/>
            </p:nvSpPr>
            <p:spPr>
              <a:xfrm flipV="1">
                <a:off x="182880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6" name="Straight Connector 91"/>
              <p:cNvSpPr/>
              <p:nvPr/>
            </p:nvSpPr>
            <p:spPr>
              <a:xfrm flipV="1">
                <a:off x="23164618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  <p:grpSp>
          <p:nvGrpSpPr>
            <p:cNvPr id="517" name="Group 61"/>
            <p:cNvGrpSpPr/>
            <p:nvPr/>
          </p:nvGrpSpPr>
          <p:grpSpPr>
            <a:xfrm>
              <a:off x="-1" y="926930"/>
              <a:ext cx="243842" cy="12438551"/>
              <a:chOff x="0" y="0"/>
              <a:chExt cx="243840" cy="12438549"/>
            </a:xfrm>
          </p:grpSpPr>
          <p:sp>
            <p:nvSpPr>
              <p:cNvPr id="508" name="Straight Connector 72"/>
              <p:cNvSpPr/>
              <p:nvPr/>
            </p:nvSpPr>
            <p:spPr>
              <a:xfrm flipH="1">
                <a:off x="0" y="110947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9" name="Straight Connector 73"/>
              <p:cNvSpPr/>
              <p:nvPr/>
            </p:nvSpPr>
            <p:spPr>
              <a:xfrm flipH="1">
                <a:off x="0" y="2804159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0" name="Straight Connector 74"/>
              <p:cNvSpPr/>
              <p:nvPr/>
            </p:nvSpPr>
            <p:spPr>
              <a:xfrm flipH="1">
                <a:off x="0" y="451104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1" name="Straight Connector 75"/>
              <p:cNvSpPr/>
              <p:nvPr/>
            </p:nvSpPr>
            <p:spPr>
              <a:xfrm flipH="1">
                <a:off x="0" y="6221989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2" name="Straight Connector 76"/>
              <p:cNvSpPr/>
              <p:nvPr/>
            </p:nvSpPr>
            <p:spPr>
              <a:xfrm flipH="1">
                <a:off x="0" y="7924800"/>
                <a:ext cx="243841" cy="0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3" name="Straight Connector 77"/>
              <p:cNvSpPr/>
              <p:nvPr/>
            </p:nvSpPr>
            <p:spPr>
              <a:xfrm flipH="1">
                <a:off x="0" y="963168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4" name="Straight Connector 78"/>
              <p:cNvSpPr/>
              <p:nvPr/>
            </p:nvSpPr>
            <p:spPr>
              <a:xfrm flipH="1">
                <a:off x="0" y="1135075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5" name="Straight Connector 79"/>
              <p:cNvSpPr/>
              <p:nvPr/>
            </p:nvSpPr>
            <p:spPr>
              <a:xfrm flipH="1" flipV="1">
                <a:off x="0" y="-1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6" name="Straight Connector 80"/>
              <p:cNvSpPr/>
              <p:nvPr/>
            </p:nvSpPr>
            <p:spPr>
              <a:xfrm flipH="1">
                <a:off x="0" y="12438549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  <p:grpSp>
          <p:nvGrpSpPr>
            <p:cNvPr id="527" name="Group 62"/>
            <p:cNvGrpSpPr/>
            <p:nvPr/>
          </p:nvGrpSpPr>
          <p:grpSpPr>
            <a:xfrm>
              <a:off x="24727414" y="926930"/>
              <a:ext cx="243841" cy="12435842"/>
              <a:chOff x="0" y="0"/>
              <a:chExt cx="243840" cy="12435840"/>
            </a:xfrm>
          </p:grpSpPr>
          <p:sp>
            <p:nvSpPr>
              <p:cNvPr id="518" name="Straight Connector 63"/>
              <p:cNvSpPr/>
              <p:nvPr/>
            </p:nvSpPr>
            <p:spPr>
              <a:xfrm flipH="1">
                <a:off x="0" y="110947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9" name="Straight Connector 64"/>
              <p:cNvSpPr/>
              <p:nvPr/>
            </p:nvSpPr>
            <p:spPr>
              <a:xfrm flipH="1">
                <a:off x="0" y="280416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0" name="Straight Connector 65"/>
              <p:cNvSpPr/>
              <p:nvPr/>
            </p:nvSpPr>
            <p:spPr>
              <a:xfrm flipH="1">
                <a:off x="0" y="451104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1" name="Straight Connector 66"/>
              <p:cNvSpPr/>
              <p:nvPr/>
            </p:nvSpPr>
            <p:spPr>
              <a:xfrm flipH="1">
                <a:off x="0" y="621792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2" name="Straight Connector 67"/>
              <p:cNvSpPr/>
              <p:nvPr/>
            </p:nvSpPr>
            <p:spPr>
              <a:xfrm flipH="1">
                <a:off x="0" y="7924800"/>
                <a:ext cx="243841" cy="0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3" name="Straight Connector 68"/>
              <p:cNvSpPr/>
              <p:nvPr/>
            </p:nvSpPr>
            <p:spPr>
              <a:xfrm flipH="1">
                <a:off x="0" y="963168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4" name="Straight Connector 69"/>
              <p:cNvSpPr/>
              <p:nvPr/>
            </p:nvSpPr>
            <p:spPr>
              <a:xfrm flipH="1">
                <a:off x="0" y="1135075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5" name="Straight Connector 70"/>
              <p:cNvSpPr/>
              <p:nvPr/>
            </p:nvSpPr>
            <p:spPr>
              <a:xfrm flipH="1" flipV="1">
                <a:off x="0" y="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6" name="Straight Connector 71"/>
              <p:cNvSpPr/>
              <p:nvPr/>
            </p:nvSpPr>
            <p:spPr>
              <a:xfrm flipH="1">
                <a:off x="0" y="1243584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</p:grpSp>
      <p:sp>
        <p:nvSpPr>
          <p:cNvPr id="530" name="Cool gray 10 rectangle"/>
          <p:cNvSpPr/>
          <p:nvPr userDrawn="1"/>
        </p:nvSpPr>
        <p:spPr>
          <a:xfrm>
            <a:off x="6096000" y="26244"/>
            <a:ext cx="6096000" cy="6858001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8000" tIns="48000" rIns="48000" bIns="48000" anchor="ctr"/>
          <a:lstStyle/>
          <a:p>
            <a:pPr defTabSz="914644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/>
          </a:p>
        </p:txBody>
      </p:sp>
      <p:grpSp>
        <p:nvGrpSpPr>
          <p:cNvPr id="573" name="Group"/>
          <p:cNvGrpSpPr/>
          <p:nvPr/>
        </p:nvGrpSpPr>
        <p:grpSpPr>
          <a:xfrm>
            <a:off x="-146307" y="-146474"/>
            <a:ext cx="12485628" cy="7152641"/>
            <a:chOff x="0" y="0"/>
            <a:chExt cx="24971254" cy="14305280"/>
          </a:xfrm>
        </p:grpSpPr>
        <p:sp>
          <p:nvSpPr>
            <p:cNvPr id="533" name="Straight Connector 92"/>
            <p:cNvSpPr/>
            <p:nvPr/>
          </p:nvSpPr>
          <p:spPr>
            <a:xfrm flipV="1">
              <a:off x="90390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4" name="Straight Connector 93"/>
            <p:cNvSpPr/>
            <p:nvPr/>
          </p:nvSpPr>
          <p:spPr>
            <a:xfrm flipV="1">
              <a:off x="578070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5" name="Straight Connector 94"/>
            <p:cNvSpPr/>
            <p:nvPr/>
          </p:nvSpPr>
          <p:spPr>
            <a:xfrm flipV="1">
              <a:off x="639030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6" name="Straight Connector 95"/>
            <p:cNvSpPr/>
            <p:nvPr/>
          </p:nvSpPr>
          <p:spPr>
            <a:xfrm flipV="1">
              <a:off x="69999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7" name="Straight Connector 96"/>
            <p:cNvSpPr/>
            <p:nvPr/>
          </p:nvSpPr>
          <p:spPr>
            <a:xfrm flipV="1">
              <a:off x="118767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8" name="Straight Connector 97"/>
            <p:cNvSpPr/>
            <p:nvPr/>
          </p:nvSpPr>
          <p:spPr>
            <a:xfrm flipV="1">
              <a:off x="124863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9" name="Straight Connector 98"/>
            <p:cNvSpPr/>
            <p:nvPr/>
          </p:nvSpPr>
          <p:spPr>
            <a:xfrm flipV="1">
              <a:off x="130959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0" name="Straight Connector 99"/>
            <p:cNvSpPr/>
            <p:nvPr/>
          </p:nvSpPr>
          <p:spPr>
            <a:xfrm flipV="1">
              <a:off x="179727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1" name="Straight Connector 100"/>
            <p:cNvSpPr/>
            <p:nvPr/>
          </p:nvSpPr>
          <p:spPr>
            <a:xfrm flipV="1">
              <a:off x="18582309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2" name="Straight Connector 101"/>
            <p:cNvSpPr/>
            <p:nvPr/>
          </p:nvSpPr>
          <p:spPr>
            <a:xfrm flipV="1">
              <a:off x="19191909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3" name="Straight Connector 102"/>
            <p:cNvSpPr/>
            <p:nvPr/>
          </p:nvSpPr>
          <p:spPr>
            <a:xfrm flipV="1">
              <a:off x="2406852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4" name="Straight Connector 81"/>
            <p:cNvSpPr/>
            <p:nvPr/>
          </p:nvSpPr>
          <p:spPr>
            <a:xfrm flipV="1">
              <a:off x="90390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5" name="Straight Connector 82"/>
            <p:cNvSpPr/>
            <p:nvPr/>
          </p:nvSpPr>
          <p:spPr>
            <a:xfrm flipV="1">
              <a:off x="578070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6" name="Straight Connector 83"/>
            <p:cNvSpPr/>
            <p:nvPr/>
          </p:nvSpPr>
          <p:spPr>
            <a:xfrm flipV="1">
              <a:off x="639030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7" name="Straight Connector 84"/>
            <p:cNvSpPr/>
            <p:nvPr/>
          </p:nvSpPr>
          <p:spPr>
            <a:xfrm flipV="1">
              <a:off x="69999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8" name="Straight Connector 85"/>
            <p:cNvSpPr/>
            <p:nvPr/>
          </p:nvSpPr>
          <p:spPr>
            <a:xfrm flipV="1">
              <a:off x="118767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9" name="Straight Connector 86"/>
            <p:cNvSpPr/>
            <p:nvPr/>
          </p:nvSpPr>
          <p:spPr>
            <a:xfrm flipV="1">
              <a:off x="124863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0" name="Straight Connector 87"/>
            <p:cNvSpPr/>
            <p:nvPr/>
          </p:nvSpPr>
          <p:spPr>
            <a:xfrm flipV="1">
              <a:off x="130959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1" name="Straight Connector 88"/>
            <p:cNvSpPr/>
            <p:nvPr/>
          </p:nvSpPr>
          <p:spPr>
            <a:xfrm flipV="1">
              <a:off x="179727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2" name="Straight Connector 89"/>
            <p:cNvSpPr/>
            <p:nvPr/>
          </p:nvSpPr>
          <p:spPr>
            <a:xfrm flipV="1">
              <a:off x="18582309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3" name="Straight Connector 90"/>
            <p:cNvSpPr/>
            <p:nvPr/>
          </p:nvSpPr>
          <p:spPr>
            <a:xfrm flipV="1">
              <a:off x="19191909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4" name="Straight Connector 91"/>
            <p:cNvSpPr/>
            <p:nvPr/>
          </p:nvSpPr>
          <p:spPr>
            <a:xfrm flipV="1">
              <a:off x="2406852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5" name="Straight Connector 72"/>
            <p:cNvSpPr/>
            <p:nvPr/>
          </p:nvSpPr>
          <p:spPr>
            <a:xfrm flipH="1">
              <a:off x="-1" y="2036402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6" name="Straight Connector 73"/>
            <p:cNvSpPr/>
            <p:nvPr/>
          </p:nvSpPr>
          <p:spPr>
            <a:xfrm flipH="1">
              <a:off x="-1" y="3731090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7" name="Straight Connector 74"/>
            <p:cNvSpPr/>
            <p:nvPr/>
          </p:nvSpPr>
          <p:spPr>
            <a:xfrm flipH="1">
              <a:off x="-1" y="5437971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8" name="Straight Connector 75"/>
            <p:cNvSpPr/>
            <p:nvPr/>
          </p:nvSpPr>
          <p:spPr>
            <a:xfrm flipH="1">
              <a:off x="-1" y="7148920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9" name="Straight Connector 76"/>
            <p:cNvSpPr/>
            <p:nvPr/>
          </p:nvSpPr>
          <p:spPr>
            <a:xfrm flipH="1">
              <a:off x="-1" y="8851731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0" name="Straight Connector 77"/>
            <p:cNvSpPr/>
            <p:nvPr/>
          </p:nvSpPr>
          <p:spPr>
            <a:xfrm flipH="1">
              <a:off x="-1" y="10558611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1" name="Straight Connector 78"/>
            <p:cNvSpPr/>
            <p:nvPr/>
          </p:nvSpPr>
          <p:spPr>
            <a:xfrm flipH="1">
              <a:off x="-1" y="12277683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2" name="Straight Connector 79"/>
            <p:cNvSpPr/>
            <p:nvPr/>
          </p:nvSpPr>
          <p:spPr>
            <a:xfrm flipH="1">
              <a:off x="-1" y="926930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3" name="Straight Connector 80"/>
            <p:cNvSpPr/>
            <p:nvPr/>
          </p:nvSpPr>
          <p:spPr>
            <a:xfrm flipH="1">
              <a:off x="-1" y="13365478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4" name="Straight Connector 63"/>
            <p:cNvSpPr/>
            <p:nvPr/>
          </p:nvSpPr>
          <p:spPr>
            <a:xfrm flipH="1">
              <a:off x="24727414" y="2036402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5" name="Straight Connector 64"/>
            <p:cNvSpPr/>
            <p:nvPr/>
          </p:nvSpPr>
          <p:spPr>
            <a:xfrm flipH="1">
              <a:off x="24727414" y="3731090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6" name="Straight Connector 65"/>
            <p:cNvSpPr/>
            <p:nvPr/>
          </p:nvSpPr>
          <p:spPr>
            <a:xfrm flipH="1">
              <a:off x="24727414" y="543797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7" name="Straight Connector 66"/>
            <p:cNvSpPr/>
            <p:nvPr/>
          </p:nvSpPr>
          <p:spPr>
            <a:xfrm flipH="1">
              <a:off x="24727414" y="714485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8" name="Straight Connector 67"/>
            <p:cNvSpPr/>
            <p:nvPr/>
          </p:nvSpPr>
          <p:spPr>
            <a:xfrm flipH="1">
              <a:off x="24727414" y="885173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9" name="Straight Connector 68"/>
            <p:cNvSpPr/>
            <p:nvPr/>
          </p:nvSpPr>
          <p:spPr>
            <a:xfrm flipH="1">
              <a:off x="24727414" y="1055861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70" name="Straight Connector 69"/>
            <p:cNvSpPr/>
            <p:nvPr/>
          </p:nvSpPr>
          <p:spPr>
            <a:xfrm flipH="1">
              <a:off x="24727414" y="12277683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71" name="Straight Connector 70"/>
            <p:cNvSpPr/>
            <p:nvPr/>
          </p:nvSpPr>
          <p:spPr>
            <a:xfrm flipH="1">
              <a:off x="24727414" y="926930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72" name="Straight Connector 71"/>
            <p:cNvSpPr/>
            <p:nvPr/>
          </p:nvSpPr>
          <p:spPr>
            <a:xfrm flipH="1">
              <a:off x="24727414" y="13362770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</p:grp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94B9C110-3545-CD94-AA1C-557A650FEA7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401647" y="5992368"/>
            <a:ext cx="2404477" cy="711248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hape 9">
            <a:extLst>
              <a:ext uri="{FF2B5EF4-FFF2-40B4-BE49-F238E27FC236}">
                <a16:creationId xmlns:a16="http://schemas.microsoft.com/office/drawing/2014/main" id="{0D9C3D73-A209-6D03-EF26-7B69C04DD0E9}"/>
              </a:ext>
            </a:extLst>
          </p:cNvPr>
          <p:cNvSpPr txBox="1">
            <a:spLocks noGrp="1"/>
          </p:cNvSpPr>
          <p:nvPr>
            <p:ph type="ctrTitle"/>
          </p:nvPr>
        </p:nvSpPr>
        <p:spPr>
          <a:xfrm>
            <a:off x="753739" y="2769795"/>
            <a:ext cx="4798272" cy="865451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buSzPct val="100000"/>
              <a:defRPr sz="4800" b="0" i="0">
                <a:solidFill>
                  <a:schemeClr val="bg1"/>
                </a:solidFill>
                <a:latin typeface="IBM Plex Sans Medium" charset="0"/>
                <a:ea typeface="IBM Plex Sans Medium" charset="0"/>
                <a:cs typeface="IBM Plex Sans Medium" charset="0"/>
              </a:defRPr>
            </a:lvl1pPr>
            <a:lvl2pPr lvl="1">
              <a:spcBef>
                <a:spcPts val="0"/>
              </a:spcBef>
              <a:buSzPct val="100000"/>
              <a:defRPr sz="4800"/>
            </a:lvl2pPr>
            <a:lvl3pPr lvl="2">
              <a:spcBef>
                <a:spcPts val="0"/>
              </a:spcBef>
              <a:buSzPct val="100000"/>
              <a:defRPr sz="4800"/>
            </a:lvl3pPr>
            <a:lvl4pPr lvl="3">
              <a:spcBef>
                <a:spcPts val="0"/>
              </a:spcBef>
              <a:buSzPct val="100000"/>
              <a:defRPr sz="4800"/>
            </a:lvl4pPr>
            <a:lvl5pPr lvl="4">
              <a:spcBef>
                <a:spcPts val="0"/>
              </a:spcBef>
              <a:buSzPct val="100000"/>
              <a:defRPr sz="4800"/>
            </a:lvl5pPr>
            <a:lvl6pPr lvl="5">
              <a:spcBef>
                <a:spcPts val="0"/>
              </a:spcBef>
              <a:buSzPct val="100000"/>
              <a:defRPr sz="4800"/>
            </a:lvl6pPr>
            <a:lvl7pPr lvl="6">
              <a:spcBef>
                <a:spcPts val="0"/>
              </a:spcBef>
              <a:buSzPct val="100000"/>
              <a:defRPr sz="4800"/>
            </a:lvl7pPr>
            <a:lvl8pPr lvl="7">
              <a:spcBef>
                <a:spcPts val="0"/>
              </a:spcBef>
              <a:buSzPct val="100000"/>
              <a:defRPr sz="4800"/>
            </a:lvl8pPr>
            <a:lvl9pPr lvl="8">
              <a:spcBef>
                <a:spcPts val="0"/>
              </a:spcBef>
              <a:buSzPct val="100000"/>
              <a:defRPr sz="4800"/>
            </a:lvl9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4" name="Text Placeholder 24">
            <a:extLst>
              <a:ext uri="{FF2B5EF4-FFF2-40B4-BE49-F238E27FC236}">
                <a16:creationId xmlns:a16="http://schemas.microsoft.com/office/drawing/2014/main" id="{DC424CCD-042F-45E0-0F79-DA2FA12B8EC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66778" y="4391565"/>
            <a:ext cx="4785223" cy="685800"/>
          </a:xfrm>
        </p:spPr>
        <p:txBody>
          <a:bodyPr/>
          <a:lstStyle>
            <a:lvl1pPr>
              <a:buClr>
                <a:schemeClr val="bg1"/>
              </a:buClr>
              <a:buNone/>
              <a:defRPr sz="1800" b="0" i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r>
              <a:rPr lang="en-US" dirty="0"/>
              <a:t>Click to add date (month xx, </a:t>
            </a:r>
            <a:r>
              <a:rPr lang="en-US" dirty="0" err="1"/>
              <a:t>xxxx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00601982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/Subtitle + Bullets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hape 27"/>
          <p:cNvSpPr txBox="1">
            <a:spLocks noGrp="1"/>
          </p:cNvSpPr>
          <p:nvPr>
            <p:ph type="body" idx="1" hasCustomPrompt="1"/>
          </p:nvPr>
        </p:nvSpPr>
        <p:spPr>
          <a:xfrm>
            <a:off x="303216" y="1886663"/>
            <a:ext cx="5324696" cy="4296421"/>
          </a:xfrm>
          <a:prstGeom prst="rect">
            <a:avLst/>
          </a:prstGeom>
        </p:spPr>
        <p:txBody>
          <a:bodyPr lIns="91425" tIns="91425" rIns="45720" bIns="91425" anchor="t" anchorCtr="0">
            <a:normAutofit/>
          </a:bodyPr>
          <a:lstStyle>
            <a:lvl1pPr marL="290513" lvl="0" indent="-227013" rtl="0">
              <a:spcBef>
                <a:spcPts val="800"/>
              </a:spcBef>
              <a:buClr>
                <a:srgbClr val="0F62FE"/>
              </a:buClr>
              <a:buSzPct val="100000"/>
              <a:buFontTx/>
              <a:buNone/>
              <a:tabLst/>
              <a:defRPr sz="1600" b="0" i="0" baseline="0">
                <a:solidFill>
                  <a:srgbClr val="0F62FE"/>
                </a:solidFill>
                <a:latin typeface="IBM Plex Sans Regular" charset="0"/>
                <a:ea typeface="IBM Plex Sans Regular" charset="0"/>
                <a:cs typeface="IBM Plex Sans Regular" charset="0"/>
                <a:sym typeface="Quattrocento Sans"/>
              </a:defRPr>
            </a:lvl1pPr>
            <a:lvl2pPr marL="685783" marR="0" lvl="1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  <a:sym typeface="Quattrocento Sans"/>
              </a:defRPr>
            </a:lvl2pPr>
            <a:lvl3pPr marL="1142971" marR="0" lvl="2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 sz="1600">
                <a:latin typeface="Quattrocento Sans"/>
                <a:ea typeface="Quattrocento Sans"/>
                <a:cs typeface="Quattrocento Sans"/>
                <a:sym typeface="Quattrocento Sans"/>
              </a:defRPr>
            </a:lvl3pPr>
            <a:lvl4pPr lvl="3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4pPr>
            <a:lvl5pPr marL="2057349" marR="0" lvl="4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 sz="1600">
                <a:latin typeface="Quattrocento Sans"/>
                <a:ea typeface="Quattrocento Sans"/>
                <a:cs typeface="Quattrocento Sans"/>
                <a:sym typeface="Quattrocento Sans"/>
              </a:defRPr>
            </a:lvl5pPr>
            <a:lvl6pPr lvl="5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lvl="6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lvl="7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lvl="8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pPr marL="457189" marR="0" lvl="0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06060"/>
                </a:solidFill>
                <a:effectLst/>
                <a:uLnTx/>
                <a:uFillTx/>
                <a:latin typeface="IBM Plex Sans" charset="0"/>
              </a:rPr>
              <a:t>Level two bullet</a:t>
            </a:r>
          </a:p>
          <a:p>
            <a:pPr marL="457189" marR="0" lvl="0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606060"/>
              </a:solidFill>
              <a:effectLst/>
              <a:uLnTx/>
              <a:uFillTx/>
              <a:latin typeface="IBM Plex Sans" charset="0"/>
            </a:endParaRP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03217" y="833355"/>
            <a:ext cx="11585448" cy="677863"/>
          </a:xfrm>
        </p:spPr>
        <p:txBody>
          <a:bodyPr>
            <a:normAutofit/>
          </a:bodyPr>
          <a:lstStyle>
            <a:lvl1pPr>
              <a:defRPr sz="1800" b="0" i="0" baseline="0">
                <a:solidFill>
                  <a:srgbClr val="BE95FF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>
              <a:defRPr/>
            </a:lvl2pPr>
          </a:lstStyle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E76C2"/>
              </a:buClr>
              <a:buSzTx/>
              <a:buFont typeface="Arial"/>
              <a:buNone/>
              <a:tabLst/>
              <a:defRPr/>
            </a:pPr>
            <a:r>
              <a:rPr lang="en-US" dirty="0"/>
              <a:t>Text – Key message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411480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0F62FE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303218" y="553728"/>
            <a:ext cx="11585448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0" name="Shape 27">
            <a:extLst>
              <a:ext uri="{FF2B5EF4-FFF2-40B4-BE49-F238E27FC236}">
                <a16:creationId xmlns:a16="http://schemas.microsoft.com/office/drawing/2014/main" id="{28AAD0CA-B090-384F-92FD-7B8693F604A1}"/>
              </a:ext>
            </a:extLst>
          </p:cNvPr>
          <p:cNvSpPr txBox="1">
            <a:spLocks noGrp="1"/>
          </p:cNvSpPr>
          <p:nvPr>
            <p:ph type="body" idx="35" hasCustomPrompt="1"/>
          </p:nvPr>
        </p:nvSpPr>
        <p:spPr>
          <a:xfrm>
            <a:off x="6526681" y="1868326"/>
            <a:ext cx="5324696" cy="4296421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228595" lvl="0" indent="0" rtl="0">
              <a:spcBef>
                <a:spcPts val="800"/>
              </a:spcBef>
              <a:buClr>
                <a:srgbClr val="0F62FE"/>
              </a:buClr>
              <a:buSzPct val="100000"/>
              <a:buFontTx/>
              <a:buNone/>
              <a:tabLst/>
              <a:defRPr sz="1600" b="0" i="0" baseline="0">
                <a:solidFill>
                  <a:srgbClr val="0F62FE"/>
                </a:solidFill>
                <a:latin typeface="IBM Plex Sans Regular" charset="0"/>
                <a:ea typeface="IBM Plex Sans Regular" charset="0"/>
                <a:cs typeface="IBM Plex Sans Regular" charset="0"/>
                <a:sym typeface="Quattrocento Sans"/>
              </a:defRPr>
            </a:lvl1pPr>
            <a:lvl2pPr marL="685783" marR="0" lvl="1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  <a:sym typeface="Quattrocento Sans"/>
              </a:defRPr>
            </a:lvl2pPr>
            <a:lvl3pPr marL="1142971" marR="0" lvl="2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 sz="1600">
                <a:latin typeface="Quattrocento Sans"/>
                <a:ea typeface="Quattrocento Sans"/>
                <a:cs typeface="Quattrocento Sans"/>
                <a:sym typeface="Quattrocento Sans"/>
              </a:defRPr>
            </a:lvl3pPr>
            <a:lvl4pPr lvl="3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4pPr>
            <a:lvl5pPr marL="2057349" marR="0" lvl="4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 sz="1600">
                <a:latin typeface="Quattrocento Sans"/>
                <a:ea typeface="Quattrocento Sans"/>
                <a:cs typeface="Quattrocento Sans"/>
                <a:sym typeface="Quattrocento Sans"/>
              </a:defRPr>
            </a:lvl5pPr>
            <a:lvl6pPr lvl="5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lvl="6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lvl="7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lvl="8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pPr marL="457189" marR="0" lvl="0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06060"/>
                </a:solidFill>
                <a:effectLst/>
                <a:uLnTx/>
                <a:uFillTx/>
                <a:latin typeface="IBM Plex Sans" charset="0"/>
              </a:rPr>
              <a:t>Level two bullet</a:t>
            </a:r>
          </a:p>
          <a:p>
            <a:pPr marL="457189" marR="0" lvl="0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606060"/>
              </a:solidFill>
              <a:effectLst/>
              <a:uLnTx/>
              <a:uFillTx/>
              <a:latin typeface="IBM Plex Sans" charset="0"/>
            </a:endParaRPr>
          </a:p>
        </p:txBody>
      </p:sp>
      <p:sp>
        <p:nvSpPr>
          <p:cNvPr id="14" name="Slide Number Placeholder 3">
            <a:extLst>
              <a:ext uri="{FF2B5EF4-FFF2-40B4-BE49-F238E27FC236}">
                <a16:creationId xmlns:a16="http://schemas.microsoft.com/office/drawing/2014/main" id="{252EFE0E-B64D-FA4F-BF4E-C314CC7CAE3D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063005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column + images/icon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hape 31"/>
          <p:cNvSpPr txBox="1">
            <a:spLocks noGrp="1"/>
          </p:cNvSpPr>
          <p:nvPr>
            <p:ph type="body" idx="1"/>
          </p:nvPr>
        </p:nvSpPr>
        <p:spPr>
          <a:xfrm>
            <a:off x="303207" y="3760327"/>
            <a:ext cx="3352606" cy="2543945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303208" y="874419"/>
            <a:ext cx="3352606" cy="2277545"/>
          </a:xfrm>
        </p:spPr>
        <p:txBody>
          <a:bodyPr>
            <a:normAutofit/>
          </a:bodyPr>
          <a:lstStyle>
            <a:lvl1pPr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5" y="76350"/>
            <a:ext cx="11585576" cy="411480"/>
          </a:xfrm>
        </p:spPr>
        <p:txBody>
          <a:bodyPr/>
          <a:lstStyle>
            <a:lvl1pPr>
              <a:buNone/>
              <a:defRPr sz="1800" b="0" i="0" baseline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303217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2" name="Shape 31">
            <a:extLst>
              <a:ext uri="{FF2B5EF4-FFF2-40B4-BE49-F238E27FC236}">
                <a16:creationId xmlns:a16="http://schemas.microsoft.com/office/drawing/2014/main" id="{9A83AEC6-A706-FC47-B198-2A14A976228C}"/>
              </a:ext>
            </a:extLst>
          </p:cNvPr>
          <p:cNvSpPr txBox="1">
            <a:spLocks noGrp="1"/>
          </p:cNvSpPr>
          <p:nvPr>
            <p:ph type="body" idx="14"/>
          </p:nvPr>
        </p:nvSpPr>
        <p:spPr>
          <a:xfrm>
            <a:off x="4419695" y="3760327"/>
            <a:ext cx="3352605" cy="2543945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0502CF5C-C197-F04F-919F-9BA79BA4C85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419696" y="874419"/>
            <a:ext cx="3352605" cy="2277545"/>
          </a:xfrm>
        </p:spPr>
        <p:txBody>
          <a:bodyPr>
            <a:normAutofit/>
          </a:bodyPr>
          <a:lstStyle>
            <a:lvl1pPr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6" name="Shape 31">
            <a:extLst>
              <a:ext uri="{FF2B5EF4-FFF2-40B4-BE49-F238E27FC236}">
                <a16:creationId xmlns:a16="http://schemas.microsoft.com/office/drawing/2014/main" id="{A52F7FB9-02F3-194E-A37C-EC8FAADAD0F0}"/>
              </a:ext>
            </a:extLst>
          </p:cNvPr>
          <p:cNvSpPr txBox="1">
            <a:spLocks noGrp="1"/>
          </p:cNvSpPr>
          <p:nvPr>
            <p:ph type="body" idx="16"/>
          </p:nvPr>
        </p:nvSpPr>
        <p:spPr>
          <a:xfrm>
            <a:off x="8536186" y="3760327"/>
            <a:ext cx="3352605" cy="2543945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Picture Placeholder 2">
            <a:extLst>
              <a:ext uri="{FF2B5EF4-FFF2-40B4-BE49-F238E27FC236}">
                <a16:creationId xmlns:a16="http://schemas.microsoft.com/office/drawing/2014/main" id="{0CA48F88-7C6A-2F45-AA71-3CE981A1761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536187" y="874419"/>
            <a:ext cx="3352605" cy="2277545"/>
          </a:xfrm>
        </p:spPr>
        <p:txBody>
          <a:bodyPr>
            <a:normAutofit/>
          </a:bodyPr>
          <a:lstStyle>
            <a:lvl1pPr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Slide Number Placeholder 3">
            <a:extLst>
              <a:ext uri="{FF2B5EF4-FFF2-40B4-BE49-F238E27FC236}">
                <a16:creationId xmlns:a16="http://schemas.microsoft.com/office/drawing/2014/main" id="{1116AA7A-D917-A644-BB32-ABFD9BC8CCB8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70299496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Bullets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hape 27"/>
          <p:cNvSpPr txBox="1">
            <a:spLocks noGrp="1"/>
          </p:cNvSpPr>
          <p:nvPr>
            <p:ph type="body" idx="1" hasCustomPrompt="1"/>
          </p:nvPr>
        </p:nvSpPr>
        <p:spPr>
          <a:xfrm>
            <a:off x="303218" y="836783"/>
            <a:ext cx="11585575" cy="4504456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 rtl="0">
              <a:spcBef>
                <a:spcPts val="800"/>
              </a:spcBef>
              <a:buClr>
                <a:srgbClr val="61C29F"/>
              </a:buClr>
              <a:buSzPct val="100000"/>
              <a:buFont typeface="Arial" charset="0"/>
              <a:buNone/>
              <a:defRPr sz="1800" b="0" i="0" baseline="0">
                <a:solidFill>
                  <a:srgbClr val="0F62FE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  <a:sym typeface="Quattrocento Sans"/>
              </a:defRPr>
            </a:lvl1pPr>
            <a:lvl2pPr marL="685783" lvl="1" indent="-228594" rtl="0">
              <a:spcBef>
                <a:spcPts val="640"/>
              </a:spcBef>
              <a:buClr>
                <a:srgbClr val="61C29F"/>
              </a:buClr>
              <a:buSzPct val="100000"/>
              <a:buFont typeface="Arial" charset="0"/>
              <a:buChar char="•"/>
              <a:defRPr sz="1600" b="0" i="0" baseline="0">
                <a:solidFill>
                  <a:srgbClr val="0F62FE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  <a:sym typeface="Quattrocento Sans"/>
              </a:defRPr>
            </a:lvl2pPr>
            <a:lvl3pPr lvl="2" rtl="0">
              <a:spcBef>
                <a:spcPts val="640"/>
              </a:spcBef>
              <a:buClr>
                <a:srgbClr val="61C29F"/>
              </a:buClr>
              <a:buSzPct val="100000"/>
              <a:buFont typeface="Quattrocento Sans"/>
              <a:defRPr sz="1400" b="0" i="0">
                <a:solidFill>
                  <a:srgbClr val="0F62FE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  <a:sym typeface="Quattrocento Sans"/>
              </a:defRPr>
            </a:lvl3pPr>
            <a:lvl4pPr lvl="3" rtl="0">
              <a:spcBef>
                <a:spcPts val="480"/>
              </a:spcBef>
              <a:buClr>
                <a:srgbClr val="61C29F"/>
              </a:buClr>
              <a:buSzPct val="100000"/>
              <a:buFont typeface="Quattrocento Sans"/>
              <a:defRPr sz="1400" b="0" i="0">
                <a:solidFill>
                  <a:srgbClr val="606060"/>
                </a:solidFill>
                <a:latin typeface="Quattrocento Sans"/>
                <a:ea typeface="IBM Plex Sans" panose="020B0503050203000203" pitchFamily="34" charset="0"/>
                <a:cs typeface="IBM Plex Sans" panose="020B0503050203000203" pitchFamily="34" charset="0"/>
                <a:sym typeface="Quattrocento Sans"/>
              </a:defRPr>
            </a:lvl4pPr>
            <a:lvl5pPr lvl="4" rtl="0">
              <a:spcBef>
                <a:spcPts val="480"/>
              </a:spcBef>
              <a:buClr>
                <a:srgbClr val="61C29F"/>
              </a:buClr>
              <a:buSzPct val="100000"/>
              <a:buFont typeface="Quattrocento Sans"/>
              <a:defRPr sz="1200" b="0" i="0">
                <a:solidFill>
                  <a:srgbClr val="0F62FE"/>
                </a:solidFill>
                <a:latin typeface="Quattrocento Sans"/>
                <a:ea typeface="IBM Plex Sans" panose="020B0503050203000203" pitchFamily="34" charset="0"/>
                <a:cs typeface="IBM Plex Sans" panose="020B0503050203000203" pitchFamily="34" charset="0"/>
                <a:sym typeface="Quattrocento Sans"/>
              </a:defRPr>
            </a:lvl5pPr>
            <a:lvl6pPr lvl="5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lvl="6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lvl="7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lvl="8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pPr lvl="0"/>
            <a:r>
              <a:rPr lang="en-US" dirty="0"/>
              <a:t>Level Text</a:t>
            </a:r>
          </a:p>
          <a:p>
            <a:pPr lvl="1"/>
            <a:r>
              <a:rPr lang="en-US" dirty="0"/>
              <a:t>Level two bullet</a:t>
            </a:r>
          </a:p>
          <a:p>
            <a:pPr lvl="2"/>
            <a:r>
              <a:rPr lang="en-US" dirty="0"/>
              <a:t>Level three bullet</a:t>
            </a:r>
          </a:p>
          <a:p>
            <a:pPr lvl="4"/>
            <a:r>
              <a:rPr lang="en-US" b="0" i="0" dirty="0">
                <a:latin typeface="IBM Plex Sans" charset="0"/>
                <a:ea typeface="IBM Plex Sans" charset="0"/>
                <a:cs typeface="IBM Plex Sans" charset="0"/>
              </a:rPr>
              <a:t>Level four bullet</a:t>
            </a:r>
            <a:endParaRPr lang="en-US" dirty="0"/>
          </a:p>
          <a:p>
            <a:pPr lvl="0"/>
            <a:r>
              <a:rPr lang="en-US" dirty="0"/>
              <a:t>Level Text</a:t>
            </a:r>
          </a:p>
          <a:p>
            <a:pPr lvl="1"/>
            <a:r>
              <a:rPr lang="en-US" dirty="0"/>
              <a:t>Level two bullet</a:t>
            </a:r>
          </a:p>
          <a:p>
            <a:pPr lvl="2"/>
            <a:r>
              <a:rPr lang="en-US" dirty="0"/>
              <a:t>Level three bullet</a:t>
            </a:r>
          </a:p>
          <a:p>
            <a:pPr lvl="4"/>
            <a:r>
              <a:rPr lang="en-US" b="0" i="0" dirty="0">
                <a:latin typeface="IBM Plex Sans" charset="0"/>
                <a:ea typeface="IBM Plex Sans" charset="0"/>
                <a:cs typeface="IBM Plex Sans" charset="0"/>
              </a:rPr>
              <a:t>Level four bullet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411480"/>
          </a:xfrm>
        </p:spPr>
        <p:txBody>
          <a:bodyPr/>
          <a:lstStyle>
            <a:lvl1pPr>
              <a:buNone/>
              <a:defRPr sz="1800" b="0" i="0" baseline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691A20A0-C4C3-CB49-9FEF-69EAA14D2B2B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68383611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id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7" y="115902"/>
            <a:ext cx="11585576" cy="411480"/>
          </a:xfrm>
        </p:spPr>
        <p:txBody>
          <a:bodyPr/>
          <a:lstStyle>
            <a:lvl1pPr>
              <a:buNone/>
              <a:defRPr sz="1800" b="0" i="0" baseline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A399282B-D1E2-2544-968D-AA887B7AFB50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94092194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5CA4AA8C-43C4-0B4A-99CA-748F4EA26671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55427284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7853465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8FBE5B9-1BED-BB48-BEB1-9276368BEAAA}"/>
              </a:ext>
            </a:extLst>
          </p:cNvPr>
          <p:cNvSpPr/>
          <p:nvPr userDrawn="1"/>
        </p:nvSpPr>
        <p:spPr>
          <a:xfrm>
            <a:off x="0" y="0"/>
            <a:ext cx="4775199" cy="6858000"/>
          </a:xfrm>
          <a:prstGeom prst="rect">
            <a:avLst/>
          </a:prstGeom>
          <a:gradFill>
            <a:gsLst>
              <a:gs pos="34000">
                <a:srgbClr val="096BFE"/>
              </a:gs>
              <a:gs pos="79000">
                <a:srgbClr val="6F5496"/>
              </a:gs>
            </a:gsLst>
            <a:lin ang="540000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7493AE61-76F2-D54F-B21D-9AB7794D2CAB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>
                <a:solidFill>
                  <a:schemeClr val="bg1"/>
                </a:solidFill>
              </a:rPr>
              <a:pPr/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99EECF3-5ABC-6447-86FC-D32133E8F4CD}"/>
              </a:ext>
            </a:extLst>
          </p:cNvPr>
          <p:cNvSpPr txBox="1"/>
          <p:nvPr userDrawn="1"/>
        </p:nvSpPr>
        <p:spPr>
          <a:xfrm>
            <a:off x="650272" y="6451444"/>
            <a:ext cx="1552027" cy="406556"/>
          </a:xfrm>
          <a:prstGeom prst="rect">
            <a:avLst/>
          </a:prstGeom>
          <a:noFill/>
        </p:spPr>
        <p:txBody>
          <a:bodyPr wrap="none" tIns="120000" bIns="120000" rtlCol="0" anchor="t">
            <a:spAutoFit/>
          </a:bodyPr>
          <a:lstStyle/>
          <a:p>
            <a:pPr algn="ctr"/>
            <a:r>
              <a:rPr lang="en-US" sz="1067" b="0" i="0" dirty="0">
                <a:solidFill>
                  <a:schemeClr val="bg1"/>
                </a:solidFill>
                <a:latin typeface="IBM Plex Sans Light" panose="020B0403050203000203" pitchFamily="34" charset="0"/>
              </a:rPr>
              <a:t>IBM Internal Use Only </a:t>
            </a:r>
          </a:p>
        </p:txBody>
      </p:sp>
    </p:spTree>
    <p:extLst>
      <p:ext uri="{BB962C8B-B14F-4D97-AF65-F5344CB8AC3E}">
        <p14:creationId xmlns:p14="http://schemas.microsoft.com/office/powerpoint/2010/main" val="23748473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1BD229B-1CF3-B634-DA61-98432B0F33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601D83F6-E776-11B5-A667-1FE3BDD69BD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EFE03E50-F7AE-CD1C-E34F-961EF4D5DD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24/10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0C0A92EA-B048-5524-9442-29F068C691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5CB16ADB-60DD-FF61-15E5-653C7196A4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5540408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8FBE5B9-1BED-BB48-BEB1-9276368BEAAA}"/>
              </a:ext>
            </a:extLst>
          </p:cNvPr>
          <p:cNvSpPr/>
          <p:nvPr userDrawn="1"/>
        </p:nvSpPr>
        <p:spPr>
          <a:xfrm>
            <a:off x="0" y="0"/>
            <a:ext cx="4775199" cy="6858000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7493AE61-76F2-D54F-B21D-9AB7794D2CAB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>
                <a:solidFill>
                  <a:schemeClr val="bg1"/>
                </a:solidFill>
              </a:rPr>
              <a:pPr/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99EECF3-5ABC-6447-86FC-D32133E8F4CD}"/>
              </a:ext>
            </a:extLst>
          </p:cNvPr>
          <p:cNvSpPr txBox="1"/>
          <p:nvPr userDrawn="1"/>
        </p:nvSpPr>
        <p:spPr>
          <a:xfrm>
            <a:off x="650272" y="6451444"/>
            <a:ext cx="1552027" cy="406556"/>
          </a:xfrm>
          <a:prstGeom prst="rect">
            <a:avLst/>
          </a:prstGeom>
          <a:noFill/>
        </p:spPr>
        <p:txBody>
          <a:bodyPr wrap="none" tIns="120000" bIns="120000" rtlCol="0" anchor="t">
            <a:spAutoFit/>
          </a:bodyPr>
          <a:lstStyle/>
          <a:p>
            <a:pPr algn="ctr"/>
            <a:r>
              <a:rPr lang="en-US" sz="1067" b="0" i="0" dirty="0">
                <a:solidFill>
                  <a:schemeClr val="bg1"/>
                </a:solidFill>
                <a:latin typeface="IBM Plex Sans Light" panose="020B0403050203000203" pitchFamily="34" charset="0"/>
              </a:rPr>
              <a:t>IBM Internal Use Only </a:t>
            </a:r>
          </a:p>
        </p:txBody>
      </p:sp>
    </p:spTree>
    <p:extLst>
      <p:ext uri="{BB962C8B-B14F-4D97-AF65-F5344CB8AC3E}">
        <p14:creationId xmlns:p14="http://schemas.microsoft.com/office/powerpoint/2010/main" val="2718753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8FBE5B9-1BED-BB48-BEB1-9276368BEAAA}"/>
              </a:ext>
            </a:extLst>
          </p:cNvPr>
          <p:cNvSpPr/>
          <p:nvPr userDrawn="1"/>
        </p:nvSpPr>
        <p:spPr>
          <a:xfrm>
            <a:off x="0" y="0"/>
            <a:ext cx="4775199" cy="6858000"/>
          </a:xfrm>
          <a:prstGeom prst="rect">
            <a:avLst/>
          </a:prstGeom>
          <a:solidFill>
            <a:srgbClr val="6F549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7493AE61-76F2-D54F-B21D-9AB7794D2CAB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>
                <a:solidFill>
                  <a:schemeClr val="bg1"/>
                </a:solidFill>
              </a:rPr>
              <a:pPr/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99EECF3-5ABC-6447-86FC-D32133E8F4CD}"/>
              </a:ext>
            </a:extLst>
          </p:cNvPr>
          <p:cNvSpPr txBox="1"/>
          <p:nvPr userDrawn="1"/>
        </p:nvSpPr>
        <p:spPr>
          <a:xfrm>
            <a:off x="650272" y="6451444"/>
            <a:ext cx="1552027" cy="406556"/>
          </a:xfrm>
          <a:prstGeom prst="rect">
            <a:avLst/>
          </a:prstGeom>
          <a:noFill/>
        </p:spPr>
        <p:txBody>
          <a:bodyPr wrap="none" tIns="120000" bIns="120000" rtlCol="0" anchor="t">
            <a:spAutoFit/>
          </a:bodyPr>
          <a:lstStyle/>
          <a:p>
            <a:pPr algn="ctr"/>
            <a:r>
              <a:rPr lang="en-US" sz="1067" b="0" i="0" dirty="0">
                <a:solidFill>
                  <a:schemeClr val="bg1"/>
                </a:solidFill>
                <a:latin typeface="IBM Plex Sans Light" panose="020B0403050203000203" pitchFamily="34" charset="0"/>
              </a:rPr>
              <a:t>IBM Internal Use Only </a:t>
            </a:r>
          </a:p>
        </p:txBody>
      </p:sp>
    </p:spTree>
    <p:extLst>
      <p:ext uri="{BB962C8B-B14F-4D97-AF65-F5344CB8AC3E}">
        <p14:creationId xmlns:p14="http://schemas.microsoft.com/office/powerpoint/2010/main" val="378121339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8FBE5B9-1BED-BB48-BEB1-9276368BEAAA}"/>
              </a:ext>
            </a:extLst>
          </p:cNvPr>
          <p:cNvSpPr/>
          <p:nvPr userDrawn="1"/>
        </p:nvSpPr>
        <p:spPr>
          <a:xfrm>
            <a:off x="0" y="0"/>
            <a:ext cx="4775199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7493AE61-76F2-D54F-B21D-9AB7794D2CAB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>
                <a:solidFill>
                  <a:schemeClr val="bg1"/>
                </a:solidFill>
              </a:rPr>
              <a:pPr/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787579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">
    <p:bg>
      <p:bgPr>
        <a:solidFill>
          <a:schemeClr val="bg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hape 13"/>
          <p:cNvSpPr txBox="1">
            <a:spLocks noGrp="1"/>
          </p:cNvSpPr>
          <p:nvPr>
            <p:ph type="subTitle" idx="1" hasCustomPrompt="1"/>
          </p:nvPr>
        </p:nvSpPr>
        <p:spPr>
          <a:xfrm>
            <a:off x="2879184" y="3679002"/>
            <a:ext cx="6904896" cy="104639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buClr>
                <a:srgbClr val="000000"/>
              </a:buClr>
              <a:buSzPct val="100000"/>
              <a:buNone/>
              <a:defRPr sz="2000" b="0" i="0" dirty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2pPr>
            <a:lvl3pPr lvl="2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3pPr>
            <a:lvl4pPr lvl="3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4pPr>
            <a:lvl5pPr lvl="4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5pPr>
            <a:lvl6pPr lvl="5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6pPr>
            <a:lvl7pPr lvl="6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7pPr>
            <a:lvl8pPr lvl="7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8pPr>
            <a:lvl9pPr lvl="8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16" name="Shape 16"/>
          <p:cNvSpPr txBox="1">
            <a:spLocks noGrp="1"/>
          </p:cNvSpPr>
          <p:nvPr>
            <p:ph type="ctrTitle" hasCustomPrompt="1"/>
          </p:nvPr>
        </p:nvSpPr>
        <p:spPr>
          <a:xfrm>
            <a:off x="2879185" y="2132602"/>
            <a:ext cx="5050399" cy="1546399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 rtl="0">
              <a:spcBef>
                <a:spcPts val="0"/>
              </a:spcBef>
              <a:buSzPct val="100000"/>
              <a:defRPr sz="40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 rtl="0">
              <a:spcBef>
                <a:spcPts val="0"/>
              </a:spcBef>
              <a:buSzPct val="100000"/>
              <a:defRPr sz="4000"/>
            </a:lvl2pPr>
            <a:lvl3pPr lvl="2" rtl="0">
              <a:spcBef>
                <a:spcPts val="0"/>
              </a:spcBef>
              <a:buSzPct val="100000"/>
              <a:defRPr sz="4000"/>
            </a:lvl3pPr>
            <a:lvl4pPr lvl="3" rtl="0">
              <a:spcBef>
                <a:spcPts val="0"/>
              </a:spcBef>
              <a:buSzPct val="100000"/>
              <a:defRPr sz="4000"/>
            </a:lvl4pPr>
            <a:lvl5pPr lvl="4" rtl="0">
              <a:spcBef>
                <a:spcPts val="0"/>
              </a:spcBef>
              <a:buSzPct val="100000"/>
              <a:defRPr sz="4000"/>
            </a:lvl5pPr>
            <a:lvl6pPr lvl="5" rtl="0">
              <a:spcBef>
                <a:spcPts val="0"/>
              </a:spcBef>
              <a:buSzPct val="100000"/>
              <a:defRPr sz="4000"/>
            </a:lvl6pPr>
            <a:lvl7pPr lvl="6" rtl="0">
              <a:spcBef>
                <a:spcPts val="0"/>
              </a:spcBef>
              <a:buSzPct val="100000"/>
              <a:defRPr sz="4000"/>
            </a:lvl7pPr>
            <a:lvl8pPr lvl="7" rtl="0">
              <a:spcBef>
                <a:spcPts val="0"/>
              </a:spcBef>
              <a:buSzPct val="100000"/>
              <a:defRPr sz="4000"/>
            </a:lvl8pPr>
            <a:lvl9pPr lvl="8" rtl="0">
              <a:spcBef>
                <a:spcPts val="0"/>
              </a:spcBef>
              <a:buSzPct val="100000"/>
              <a:defRPr sz="4000"/>
            </a:lvl9pPr>
          </a:lstStyle>
          <a:p>
            <a:r>
              <a:rPr lang="en-US" dirty="0"/>
              <a:t>Transition Title</a:t>
            </a:r>
            <a:endParaRPr dirty="0"/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79B2E7AD-0E0C-284D-85DA-223A30AE4F2C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30020081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">
    <p:bg>
      <p:bgPr>
        <a:solidFill>
          <a:schemeClr val="bg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val 13"/>
          <p:cNvSpPr/>
          <p:nvPr userDrawn="1"/>
        </p:nvSpPr>
        <p:spPr>
          <a:xfrm>
            <a:off x="2020188" y="1252884"/>
            <a:ext cx="658368" cy="658368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15" name="Oval 14"/>
          <p:cNvSpPr/>
          <p:nvPr userDrawn="1"/>
        </p:nvSpPr>
        <p:spPr>
          <a:xfrm>
            <a:off x="9320964" y="4651924"/>
            <a:ext cx="658368" cy="658368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9384972" y="4601125"/>
            <a:ext cx="658368" cy="101566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6000" b="1" i="0" dirty="0">
                <a:solidFill>
                  <a:schemeClr val="bg1"/>
                </a:solidFill>
                <a:latin typeface="Times New Roman" charset="0"/>
                <a:ea typeface="Times New Roman" charset="0"/>
                <a:cs typeface="Times New Roman" charset="0"/>
              </a:rPr>
              <a:t>”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2060929" y="1188194"/>
            <a:ext cx="57688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0" b="1" i="0" dirty="0">
                <a:solidFill>
                  <a:schemeClr val="bg1"/>
                </a:solidFill>
                <a:latin typeface="Times New Roman" charset="0"/>
                <a:ea typeface="Times New Roman" charset="0"/>
                <a:cs typeface="Times New Roman" charset="0"/>
              </a:rPr>
              <a:t>“</a:t>
            </a:r>
          </a:p>
        </p:txBody>
      </p:sp>
      <p:sp>
        <p:nvSpPr>
          <p:cNvPr id="12" name="Shape 19"/>
          <p:cNvSpPr txBox="1">
            <a:spLocks noGrp="1"/>
          </p:cNvSpPr>
          <p:nvPr>
            <p:ph type="body" idx="1" hasCustomPrompt="1"/>
          </p:nvPr>
        </p:nvSpPr>
        <p:spPr>
          <a:xfrm>
            <a:off x="2746647" y="1911252"/>
            <a:ext cx="6578400" cy="2740672"/>
          </a:xfrm>
          <a:prstGeom prst="rect">
            <a:avLst/>
          </a:prstGeom>
        </p:spPr>
        <p:txBody>
          <a:bodyPr lIns="91425" tIns="91425" rIns="91425" bIns="91425" anchor="ctr" anchorCtr="0"/>
          <a:lstStyle>
            <a:lvl1pPr marL="457189" lvl="0" indent="-457189" algn="ctr" rtl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3200" i="1">
                <a:solidFill>
                  <a:srgbClr val="606060"/>
                </a:solidFill>
                <a:latin typeface="Lora"/>
                <a:ea typeface="Lora"/>
                <a:cs typeface="Lora"/>
                <a:sym typeface="Lora"/>
              </a:defRPr>
            </a:lvl1pPr>
            <a:lvl2pPr lvl="1" algn="ctr" rtl="0">
              <a:spcBef>
                <a:spcPts val="0"/>
              </a:spcBef>
              <a:buFont typeface="Lora"/>
              <a:defRPr i="1">
                <a:latin typeface="Lora"/>
                <a:ea typeface="Lora"/>
                <a:cs typeface="Lora"/>
                <a:sym typeface="Lora"/>
              </a:defRPr>
            </a:lvl2pPr>
            <a:lvl3pPr lvl="2" algn="ctr" rtl="0">
              <a:spcBef>
                <a:spcPts val="0"/>
              </a:spcBef>
              <a:buFont typeface="Lora"/>
              <a:defRPr i="1">
                <a:latin typeface="Lora"/>
                <a:ea typeface="Lora"/>
                <a:cs typeface="Lora"/>
                <a:sym typeface="Lora"/>
              </a:defRPr>
            </a:lvl3pPr>
            <a:lvl4pPr lvl="3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4pPr>
            <a:lvl5pPr lvl="4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5pPr>
            <a:lvl6pPr lvl="5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6pPr>
            <a:lvl7pPr lvl="6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7pPr>
            <a:lvl8pPr lvl="7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8pPr>
            <a:lvl9pPr lvl="8" algn="ctr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9pPr>
          </a:lstStyle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0"/>
              </a:buClr>
              <a:buSzPct val="100000"/>
              <a:tabLst/>
              <a:defRPr/>
            </a:pPr>
            <a:r>
              <a:rPr lang="en-US" dirty="0"/>
              <a:t>Quotation Text</a:t>
            </a:r>
            <a:endParaRPr dirty="0"/>
          </a:p>
        </p:txBody>
      </p:sp>
      <p:sp>
        <p:nvSpPr>
          <p:cNvPr id="19" name="Shape 19"/>
          <p:cNvSpPr txBox="1">
            <a:spLocks noGrp="1"/>
          </p:cNvSpPr>
          <p:nvPr>
            <p:ph type="body" idx="10" hasCustomPrompt="1"/>
          </p:nvPr>
        </p:nvSpPr>
        <p:spPr>
          <a:xfrm>
            <a:off x="4634951" y="4651423"/>
            <a:ext cx="2785731" cy="1018384"/>
          </a:xfrm>
          <a:prstGeom prst="rect">
            <a:avLst/>
          </a:prstGeom>
        </p:spPr>
        <p:txBody>
          <a:bodyPr lIns="91425" tIns="91425" rIns="91425" bIns="91425" anchor="ctr" anchorCtr="0"/>
          <a:lstStyle>
            <a:lvl1pPr marL="342891" lvl="0" indent="-342891" algn="ctr" rtl="0">
              <a:spcBef>
                <a:spcPts val="0"/>
              </a:spcBef>
              <a:buSzPct val="100000"/>
              <a:buFont typeface="Lora"/>
              <a:buNone/>
              <a:defRPr sz="2400" b="0" i="0">
                <a:solidFill>
                  <a:srgbClr val="606060"/>
                </a:solidFill>
                <a:latin typeface="IBM Plex Sans Medium" charset="0"/>
                <a:ea typeface="IBM Plex Sans Medium" charset="0"/>
                <a:cs typeface="IBM Plex Sans Medium" charset="0"/>
                <a:sym typeface="Lora"/>
              </a:defRPr>
            </a:lvl1pPr>
            <a:lvl2pPr lvl="1" algn="ctr" rtl="0">
              <a:spcBef>
                <a:spcPts val="0"/>
              </a:spcBef>
              <a:buFont typeface="Lora"/>
              <a:defRPr i="1">
                <a:latin typeface="Lora"/>
                <a:ea typeface="Lora"/>
                <a:cs typeface="Lora"/>
                <a:sym typeface="Lora"/>
              </a:defRPr>
            </a:lvl2pPr>
            <a:lvl3pPr lvl="2" algn="ctr" rtl="0">
              <a:spcBef>
                <a:spcPts val="0"/>
              </a:spcBef>
              <a:buFont typeface="Lora"/>
              <a:defRPr i="1">
                <a:latin typeface="Lora"/>
                <a:ea typeface="Lora"/>
                <a:cs typeface="Lora"/>
                <a:sym typeface="Lora"/>
              </a:defRPr>
            </a:lvl3pPr>
            <a:lvl4pPr lvl="3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4pPr>
            <a:lvl5pPr lvl="4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5pPr>
            <a:lvl6pPr lvl="5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6pPr>
            <a:lvl7pPr lvl="6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7pPr>
            <a:lvl8pPr lvl="7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8pPr>
            <a:lvl9pPr lvl="8" algn="ctr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9pPr>
          </a:lstStyle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0"/>
              </a:buClr>
              <a:buSzPct val="100000"/>
              <a:tabLst/>
              <a:defRPr/>
            </a:pPr>
            <a:r>
              <a:rPr lang="en-US" dirty="0"/>
              <a:t>- John Doe</a:t>
            </a:r>
            <a:endParaRPr dirty="0"/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E424833B-3FDE-0646-BA4C-C77C5B7512DB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46920919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/Subtitle + Bullets">
    <p:bg>
      <p:bgPr>
        <a:solidFill>
          <a:schemeClr val="bg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hape 27"/>
          <p:cNvSpPr txBox="1">
            <a:spLocks noGrp="1"/>
          </p:cNvSpPr>
          <p:nvPr>
            <p:ph type="body" idx="1" hasCustomPrompt="1"/>
          </p:nvPr>
        </p:nvSpPr>
        <p:spPr>
          <a:xfrm>
            <a:off x="303218" y="1833613"/>
            <a:ext cx="11585575" cy="353007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457189" lvl="0" indent="-457189" rtl="0">
              <a:spcBef>
                <a:spcPts val="800"/>
              </a:spcBef>
              <a:buClr>
                <a:srgbClr val="61C29F"/>
              </a:buClr>
              <a:buSzPct val="100000"/>
              <a:buFont typeface="Arial" charset="0"/>
              <a:buChar char="•"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  <a:sym typeface="Quattrocento Sans"/>
              </a:defRPr>
            </a:lvl1pPr>
            <a:lvl2pPr marL="685783" lvl="1" indent="-228594" rtl="0">
              <a:spcBef>
                <a:spcPts val="640"/>
              </a:spcBef>
              <a:buClr>
                <a:srgbClr val="61C29F"/>
              </a:buClr>
              <a:buSzPct val="100000"/>
              <a:buFont typeface="Arial" charset="0"/>
              <a:buChar char="•"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  <a:sym typeface="Quattrocento Sans"/>
              </a:defRPr>
            </a:lvl2pPr>
            <a:lvl3pPr lvl="2" rtl="0">
              <a:spcBef>
                <a:spcPts val="640"/>
              </a:spcBef>
              <a:buClr>
                <a:srgbClr val="FFCD00"/>
              </a:buClr>
              <a:buSzPct val="100000"/>
              <a:buFont typeface="Quattrocento Sans"/>
              <a:defRPr sz="2667">
                <a:latin typeface="Quattrocento Sans"/>
                <a:ea typeface="Quattrocento Sans"/>
                <a:cs typeface="Quattrocento Sans"/>
                <a:sym typeface="Quattrocento Sans"/>
              </a:defRPr>
            </a:lvl3pPr>
            <a:lvl4pPr lvl="3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4pPr>
            <a:lvl5pPr lvl="4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5pPr>
            <a:lvl6pPr lvl="5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lvl="6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lvl="7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lvl="8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pPr lvl="0"/>
            <a:r>
              <a:rPr lang="en-US" dirty="0"/>
              <a:t>Level one bullet</a:t>
            </a:r>
          </a:p>
          <a:p>
            <a:pPr lvl="1"/>
            <a:r>
              <a:rPr lang="en-US" sz="1800" b="0" i="0" dirty="0">
                <a:latin typeface="Helvetica Neue" charset="0"/>
                <a:ea typeface="Helvetica Neue" charset="0"/>
                <a:cs typeface="Helvetica Neue" charset="0"/>
              </a:rPr>
              <a:t>Level two bullet</a:t>
            </a:r>
          </a:p>
          <a:p>
            <a:pPr lvl="1"/>
            <a:r>
              <a:rPr lang="en-US" dirty="0"/>
              <a:t>Level two bullet</a:t>
            </a:r>
          </a:p>
          <a:p>
            <a:pPr lvl="0"/>
            <a:r>
              <a:rPr lang="en-US" dirty="0"/>
              <a:t>Level one bullet</a:t>
            </a:r>
          </a:p>
          <a:p>
            <a:pPr lvl="1"/>
            <a:r>
              <a:rPr lang="en-US" sz="1800" b="0" i="0" dirty="0">
                <a:latin typeface="Helvetica Neue" charset="0"/>
                <a:ea typeface="Helvetica Neue" charset="0"/>
                <a:cs typeface="Helvetica Neue" charset="0"/>
              </a:rPr>
              <a:t>Level two bullet</a:t>
            </a:r>
          </a:p>
          <a:p>
            <a:pPr lvl="1"/>
            <a:r>
              <a:rPr lang="en-US" dirty="0"/>
              <a:t>Level two bullet</a:t>
            </a:r>
          </a:p>
          <a:p>
            <a:pPr lvl="0"/>
            <a:r>
              <a:rPr lang="en-US" dirty="0"/>
              <a:t>Level one bullet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03218" y="833355"/>
            <a:ext cx="7216775" cy="677863"/>
          </a:xfrm>
        </p:spPr>
        <p:txBody>
          <a:bodyPr>
            <a:normAutofit/>
          </a:bodyPr>
          <a:lstStyle>
            <a:lvl1pPr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>
              <a:defRPr/>
            </a:lvl2pPr>
          </a:lstStyle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E76C2"/>
              </a:buClr>
              <a:buSzTx/>
              <a:buFont typeface="Arial"/>
              <a:buNone/>
              <a:tabLst/>
              <a:defRPr/>
            </a:pPr>
            <a:r>
              <a:rPr lang="en-US" dirty="0"/>
              <a:t>Text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177ED3A2-748C-6945-9927-CB2ED4B3F994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08552027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List + Subtitle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val 17"/>
          <p:cNvSpPr/>
          <p:nvPr userDrawn="1"/>
        </p:nvSpPr>
        <p:spPr>
          <a:xfrm>
            <a:off x="659834" y="1246204"/>
            <a:ext cx="595141" cy="595141"/>
          </a:xfrm>
          <a:prstGeom prst="ellipse">
            <a:avLst/>
          </a:prstGeom>
          <a:solidFill>
            <a:srgbClr val="BE9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solidFill>
                  <a:schemeClr val="tx2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768200" y="1282164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1</a:t>
            </a:r>
          </a:p>
        </p:txBody>
      </p:sp>
      <p:sp>
        <p:nvSpPr>
          <p:cNvPr id="23" name="Oval 22"/>
          <p:cNvSpPr/>
          <p:nvPr userDrawn="1"/>
        </p:nvSpPr>
        <p:spPr>
          <a:xfrm>
            <a:off x="665376" y="2797751"/>
            <a:ext cx="595141" cy="595141"/>
          </a:xfrm>
          <a:prstGeom prst="ellipse">
            <a:avLst/>
          </a:prstGeom>
          <a:solidFill>
            <a:srgbClr val="BE9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24" name="Oval 23"/>
          <p:cNvSpPr/>
          <p:nvPr userDrawn="1"/>
        </p:nvSpPr>
        <p:spPr>
          <a:xfrm>
            <a:off x="659834" y="4443008"/>
            <a:ext cx="595141" cy="595141"/>
          </a:xfrm>
          <a:prstGeom prst="ellipse">
            <a:avLst/>
          </a:prstGeom>
          <a:solidFill>
            <a:srgbClr val="BE9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25" name="TextBox 24"/>
          <p:cNvSpPr txBox="1"/>
          <p:nvPr userDrawn="1"/>
        </p:nvSpPr>
        <p:spPr>
          <a:xfrm>
            <a:off x="768412" y="2833709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2</a:t>
            </a:r>
          </a:p>
        </p:txBody>
      </p:sp>
      <p:sp>
        <p:nvSpPr>
          <p:cNvPr id="26" name="TextBox 25"/>
          <p:cNvSpPr txBox="1"/>
          <p:nvPr userDrawn="1"/>
        </p:nvSpPr>
        <p:spPr>
          <a:xfrm>
            <a:off x="768200" y="4478967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3</a:t>
            </a:r>
          </a:p>
        </p:txBody>
      </p:sp>
      <p:sp>
        <p:nvSpPr>
          <p:cNvPr id="27" name="Shape 31"/>
          <p:cNvSpPr txBox="1">
            <a:spLocks noGrp="1"/>
          </p:cNvSpPr>
          <p:nvPr>
            <p:ph type="body" idx="1"/>
          </p:nvPr>
        </p:nvSpPr>
        <p:spPr>
          <a:xfrm>
            <a:off x="1476510" y="1732307"/>
            <a:ext cx="9893907" cy="941352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0F62FE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Shape 31"/>
          <p:cNvSpPr txBox="1">
            <a:spLocks noGrp="1"/>
          </p:cNvSpPr>
          <p:nvPr>
            <p:ph type="body" idx="11"/>
          </p:nvPr>
        </p:nvSpPr>
        <p:spPr>
          <a:xfrm>
            <a:off x="1476510" y="3288065"/>
            <a:ext cx="9893907" cy="941352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0F62FE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Shape 31"/>
          <p:cNvSpPr txBox="1">
            <a:spLocks noGrp="1"/>
          </p:cNvSpPr>
          <p:nvPr>
            <p:ph type="body" idx="34"/>
          </p:nvPr>
        </p:nvSpPr>
        <p:spPr>
          <a:xfrm>
            <a:off x="1476510" y="4927483"/>
            <a:ext cx="9893907" cy="941352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0F62FE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Shape 31"/>
          <p:cNvSpPr txBox="1">
            <a:spLocks noGrp="1"/>
          </p:cNvSpPr>
          <p:nvPr>
            <p:ph type="body" idx="13" hasCustomPrompt="1"/>
          </p:nvPr>
        </p:nvSpPr>
        <p:spPr>
          <a:xfrm>
            <a:off x="1476509" y="1258787"/>
            <a:ext cx="9893907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31" name="Shape 31"/>
          <p:cNvSpPr txBox="1">
            <a:spLocks noGrp="1"/>
          </p:cNvSpPr>
          <p:nvPr>
            <p:ph type="body" idx="14" hasCustomPrompt="1"/>
          </p:nvPr>
        </p:nvSpPr>
        <p:spPr>
          <a:xfrm>
            <a:off x="1476509" y="2810333"/>
            <a:ext cx="9893907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32" name="Shape 31"/>
          <p:cNvSpPr txBox="1">
            <a:spLocks noGrp="1"/>
          </p:cNvSpPr>
          <p:nvPr>
            <p:ph type="body" idx="15" hasCustomPrompt="1"/>
          </p:nvPr>
        </p:nvSpPr>
        <p:spPr>
          <a:xfrm>
            <a:off x="1476509" y="4455590"/>
            <a:ext cx="9893907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3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4" name="Slide Number Placeholder 3">
            <a:extLst>
              <a:ext uri="{FF2B5EF4-FFF2-40B4-BE49-F238E27FC236}">
                <a16:creationId xmlns:a16="http://schemas.microsoft.com/office/drawing/2014/main" id="{82676189-B55D-BA46-9B0A-E263F4CA39C6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7556509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List + Subtitle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Oval 20"/>
          <p:cNvSpPr/>
          <p:nvPr userDrawn="1"/>
        </p:nvSpPr>
        <p:spPr>
          <a:xfrm>
            <a:off x="483372" y="1198079"/>
            <a:ext cx="595141" cy="59514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591739" y="1234037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1</a:t>
            </a:r>
          </a:p>
        </p:txBody>
      </p:sp>
      <p:sp>
        <p:nvSpPr>
          <p:cNvPr id="33" name="Oval 32"/>
          <p:cNvSpPr/>
          <p:nvPr userDrawn="1"/>
        </p:nvSpPr>
        <p:spPr>
          <a:xfrm>
            <a:off x="483372" y="3841331"/>
            <a:ext cx="595141" cy="59514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4" name="TextBox 33"/>
          <p:cNvSpPr txBox="1"/>
          <p:nvPr userDrawn="1"/>
        </p:nvSpPr>
        <p:spPr>
          <a:xfrm>
            <a:off x="586408" y="3861248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2</a:t>
            </a:r>
          </a:p>
        </p:txBody>
      </p:sp>
      <p:sp>
        <p:nvSpPr>
          <p:cNvPr id="35" name="Oval 34"/>
          <p:cNvSpPr/>
          <p:nvPr userDrawn="1"/>
        </p:nvSpPr>
        <p:spPr>
          <a:xfrm>
            <a:off x="6017740" y="1198079"/>
            <a:ext cx="595141" cy="59514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6" name="TextBox 35"/>
          <p:cNvSpPr txBox="1"/>
          <p:nvPr userDrawn="1"/>
        </p:nvSpPr>
        <p:spPr>
          <a:xfrm>
            <a:off x="6126108" y="1234037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3</a:t>
            </a:r>
          </a:p>
        </p:txBody>
      </p:sp>
      <p:sp>
        <p:nvSpPr>
          <p:cNvPr id="37" name="Oval 36"/>
          <p:cNvSpPr/>
          <p:nvPr userDrawn="1"/>
        </p:nvSpPr>
        <p:spPr>
          <a:xfrm>
            <a:off x="6017740" y="3841331"/>
            <a:ext cx="595141" cy="59514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8" name="TextBox 37"/>
          <p:cNvSpPr txBox="1"/>
          <p:nvPr userDrawn="1"/>
        </p:nvSpPr>
        <p:spPr>
          <a:xfrm>
            <a:off x="6120776" y="3861248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4</a:t>
            </a:r>
          </a:p>
        </p:txBody>
      </p:sp>
      <p:sp>
        <p:nvSpPr>
          <p:cNvPr id="39" name="Shape 31"/>
          <p:cNvSpPr txBox="1">
            <a:spLocks noGrp="1"/>
          </p:cNvSpPr>
          <p:nvPr>
            <p:ph type="body" idx="35"/>
          </p:nvPr>
        </p:nvSpPr>
        <p:spPr>
          <a:xfrm>
            <a:off x="1302998" y="1698089"/>
            <a:ext cx="4351399" cy="1831224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accent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Shape 31"/>
          <p:cNvSpPr txBox="1">
            <a:spLocks noGrp="1"/>
          </p:cNvSpPr>
          <p:nvPr>
            <p:ph type="body" idx="36" hasCustomPrompt="1"/>
          </p:nvPr>
        </p:nvSpPr>
        <p:spPr>
          <a:xfrm>
            <a:off x="1302997" y="1224570"/>
            <a:ext cx="4351399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2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41" name="Shape 31"/>
          <p:cNvSpPr txBox="1">
            <a:spLocks noGrp="1"/>
          </p:cNvSpPr>
          <p:nvPr>
            <p:ph type="body" idx="37"/>
          </p:nvPr>
        </p:nvSpPr>
        <p:spPr>
          <a:xfrm>
            <a:off x="1291153" y="4314849"/>
            <a:ext cx="4351399" cy="1685824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accent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Shape 31"/>
          <p:cNvSpPr txBox="1">
            <a:spLocks noGrp="1"/>
          </p:cNvSpPr>
          <p:nvPr>
            <p:ph type="body" idx="38" hasCustomPrompt="1"/>
          </p:nvPr>
        </p:nvSpPr>
        <p:spPr>
          <a:xfrm>
            <a:off x="1291151" y="3841331"/>
            <a:ext cx="4351399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2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43" name="Shape 31"/>
          <p:cNvSpPr txBox="1">
            <a:spLocks noGrp="1"/>
          </p:cNvSpPr>
          <p:nvPr>
            <p:ph type="body" idx="39"/>
          </p:nvPr>
        </p:nvSpPr>
        <p:spPr>
          <a:xfrm>
            <a:off x="6828874" y="4339898"/>
            <a:ext cx="4351399" cy="1660777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accent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4" name="Shape 31"/>
          <p:cNvSpPr txBox="1">
            <a:spLocks noGrp="1"/>
          </p:cNvSpPr>
          <p:nvPr>
            <p:ph type="body" idx="40" hasCustomPrompt="1"/>
          </p:nvPr>
        </p:nvSpPr>
        <p:spPr>
          <a:xfrm>
            <a:off x="6828873" y="3866379"/>
            <a:ext cx="4351399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2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45" name="Shape 31"/>
          <p:cNvSpPr txBox="1">
            <a:spLocks noGrp="1"/>
          </p:cNvSpPr>
          <p:nvPr>
            <p:ph type="body" idx="41"/>
          </p:nvPr>
        </p:nvSpPr>
        <p:spPr>
          <a:xfrm>
            <a:off x="6828873" y="1695019"/>
            <a:ext cx="4351399" cy="1862411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accent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Shape 31"/>
          <p:cNvSpPr txBox="1">
            <a:spLocks noGrp="1"/>
          </p:cNvSpPr>
          <p:nvPr>
            <p:ph type="body" idx="42" hasCustomPrompt="1"/>
          </p:nvPr>
        </p:nvSpPr>
        <p:spPr>
          <a:xfrm>
            <a:off x="6828871" y="1221499"/>
            <a:ext cx="4351399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2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29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chemeClr val="tx2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6" name="Slide Number Placeholder 3">
            <a:extLst>
              <a:ext uri="{FF2B5EF4-FFF2-40B4-BE49-F238E27FC236}">
                <a16:creationId xmlns:a16="http://schemas.microsoft.com/office/drawing/2014/main" id="{4706D2B1-A360-B341-ADB5-E352056AA997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63325170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List + Subtitle">
    <p:bg>
      <p:bgPr>
        <a:solidFill>
          <a:schemeClr val="bg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Oval 24"/>
          <p:cNvSpPr/>
          <p:nvPr userDrawn="1"/>
        </p:nvSpPr>
        <p:spPr>
          <a:xfrm>
            <a:off x="659834" y="1310372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26" name="TextBox 25"/>
          <p:cNvSpPr txBox="1"/>
          <p:nvPr userDrawn="1"/>
        </p:nvSpPr>
        <p:spPr>
          <a:xfrm>
            <a:off x="768200" y="1346332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1</a:t>
            </a:r>
          </a:p>
        </p:txBody>
      </p:sp>
      <p:sp>
        <p:nvSpPr>
          <p:cNvPr id="27" name="Oval 26"/>
          <p:cNvSpPr/>
          <p:nvPr userDrawn="1"/>
        </p:nvSpPr>
        <p:spPr>
          <a:xfrm>
            <a:off x="665376" y="2861919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28" name="Oval 27"/>
          <p:cNvSpPr/>
          <p:nvPr userDrawn="1"/>
        </p:nvSpPr>
        <p:spPr>
          <a:xfrm>
            <a:off x="659834" y="4507176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29" name="TextBox 28"/>
          <p:cNvSpPr txBox="1"/>
          <p:nvPr userDrawn="1"/>
        </p:nvSpPr>
        <p:spPr>
          <a:xfrm>
            <a:off x="768412" y="2897877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2</a:t>
            </a:r>
          </a:p>
        </p:txBody>
      </p:sp>
      <p:sp>
        <p:nvSpPr>
          <p:cNvPr id="30" name="TextBox 29"/>
          <p:cNvSpPr txBox="1"/>
          <p:nvPr userDrawn="1"/>
        </p:nvSpPr>
        <p:spPr>
          <a:xfrm>
            <a:off x="768200" y="4543135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3</a:t>
            </a:r>
          </a:p>
        </p:txBody>
      </p:sp>
      <p:sp>
        <p:nvSpPr>
          <p:cNvPr id="31" name="Oval 30"/>
          <p:cNvSpPr/>
          <p:nvPr userDrawn="1"/>
        </p:nvSpPr>
        <p:spPr>
          <a:xfrm>
            <a:off x="6356204" y="1310372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2" name="TextBox 31"/>
          <p:cNvSpPr txBox="1"/>
          <p:nvPr userDrawn="1"/>
        </p:nvSpPr>
        <p:spPr>
          <a:xfrm>
            <a:off x="6464571" y="1346332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4</a:t>
            </a:r>
          </a:p>
        </p:txBody>
      </p:sp>
      <p:sp>
        <p:nvSpPr>
          <p:cNvPr id="47" name="Oval 46"/>
          <p:cNvSpPr/>
          <p:nvPr userDrawn="1"/>
        </p:nvSpPr>
        <p:spPr>
          <a:xfrm>
            <a:off x="6361747" y="2861919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8" name="Oval 47"/>
          <p:cNvSpPr/>
          <p:nvPr userDrawn="1"/>
        </p:nvSpPr>
        <p:spPr>
          <a:xfrm>
            <a:off x="6356204" y="4507176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9" name="TextBox 48"/>
          <p:cNvSpPr txBox="1"/>
          <p:nvPr userDrawn="1"/>
        </p:nvSpPr>
        <p:spPr>
          <a:xfrm>
            <a:off x="6464783" y="2897877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5</a:t>
            </a:r>
          </a:p>
        </p:txBody>
      </p:sp>
      <p:sp>
        <p:nvSpPr>
          <p:cNvPr id="50" name="TextBox 49"/>
          <p:cNvSpPr txBox="1"/>
          <p:nvPr userDrawn="1"/>
        </p:nvSpPr>
        <p:spPr>
          <a:xfrm>
            <a:off x="6464571" y="4543135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6</a:t>
            </a:r>
          </a:p>
        </p:txBody>
      </p:sp>
      <p:sp>
        <p:nvSpPr>
          <p:cNvPr id="51" name="Shape 31"/>
          <p:cNvSpPr txBox="1">
            <a:spLocks noGrp="1"/>
          </p:cNvSpPr>
          <p:nvPr>
            <p:ph type="body" idx="37"/>
          </p:nvPr>
        </p:nvSpPr>
        <p:spPr>
          <a:xfrm>
            <a:off x="1470969" y="1808941"/>
            <a:ext cx="4288148" cy="85822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" name="Shape 31"/>
          <p:cNvSpPr txBox="1">
            <a:spLocks noGrp="1"/>
          </p:cNvSpPr>
          <p:nvPr>
            <p:ph type="body" idx="38" hasCustomPrompt="1"/>
          </p:nvPr>
        </p:nvSpPr>
        <p:spPr>
          <a:xfrm>
            <a:off x="1470967" y="1335421"/>
            <a:ext cx="4288148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53" name="Shape 31"/>
          <p:cNvSpPr txBox="1">
            <a:spLocks noGrp="1"/>
          </p:cNvSpPr>
          <p:nvPr>
            <p:ph type="body" idx="39"/>
          </p:nvPr>
        </p:nvSpPr>
        <p:spPr>
          <a:xfrm>
            <a:off x="7172881" y="1808127"/>
            <a:ext cx="4288148" cy="85822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Shape 31"/>
          <p:cNvSpPr txBox="1">
            <a:spLocks noGrp="1"/>
          </p:cNvSpPr>
          <p:nvPr>
            <p:ph type="body" idx="40" hasCustomPrompt="1"/>
          </p:nvPr>
        </p:nvSpPr>
        <p:spPr>
          <a:xfrm>
            <a:off x="7172879" y="1334607"/>
            <a:ext cx="4288148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55" name="Shape 31"/>
          <p:cNvSpPr txBox="1">
            <a:spLocks noGrp="1"/>
          </p:cNvSpPr>
          <p:nvPr>
            <p:ph type="body" idx="41"/>
          </p:nvPr>
        </p:nvSpPr>
        <p:spPr>
          <a:xfrm>
            <a:off x="1487010" y="3375309"/>
            <a:ext cx="4288148" cy="85822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6" name="Shape 31"/>
          <p:cNvSpPr txBox="1">
            <a:spLocks noGrp="1"/>
          </p:cNvSpPr>
          <p:nvPr>
            <p:ph type="body" idx="42" hasCustomPrompt="1"/>
          </p:nvPr>
        </p:nvSpPr>
        <p:spPr>
          <a:xfrm>
            <a:off x="1487009" y="2901789"/>
            <a:ext cx="4288148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57" name="Shape 31"/>
          <p:cNvSpPr txBox="1">
            <a:spLocks noGrp="1"/>
          </p:cNvSpPr>
          <p:nvPr>
            <p:ph type="body" idx="43"/>
          </p:nvPr>
        </p:nvSpPr>
        <p:spPr>
          <a:xfrm>
            <a:off x="7188922" y="3374495"/>
            <a:ext cx="4288148" cy="85822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8" name="Shape 31"/>
          <p:cNvSpPr txBox="1">
            <a:spLocks noGrp="1"/>
          </p:cNvSpPr>
          <p:nvPr>
            <p:ph type="body" idx="44" hasCustomPrompt="1"/>
          </p:nvPr>
        </p:nvSpPr>
        <p:spPr>
          <a:xfrm>
            <a:off x="7188921" y="2900975"/>
            <a:ext cx="4288148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59" name="Shape 31"/>
          <p:cNvSpPr txBox="1">
            <a:spLocks noGrp="1"/>
          </p:cNvSpPr>
          <p:nvPr>
            <p:ph type="body" idx="45"/>
          </p:nvPr>
        </p:nvSpPr>
        <p:spPr>
          <a:xfrm>
            <a:off x="1487010" y="5021786"/>
            <a:ext cx="4288148" cy="85822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Shape 31"/>
          <p:cNvSpPr txBox="1">
            <a:spLocks noGrp="1"/>
          </p:cNvSpPr>
          <p:nvPr>
            <p:ph type="body" idx="46" hasCustomPrompt="1"/>
          </p:nvPr>
        </p:nvSpPr>
        <p:spPr>
          <a:xfrm>
            <a:off x="1487009" y="4548266"/>
            <a:ext cx="4288148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61" name="Shape 31"/>
          <p:cNvSpPr txBox="1">
            <a:spLocks noGrp="1"/>
          </p:cNvSpPr>
          <p:nvPr>
            <p:ph type="body" idx="47"/>
          </p:nvPr>
        </p:nvSpPr>
        <p:spPr>
          <a:xfrm>
            <a:off x="7188922" y="5020973"/>
            <a:ext cx="4288148" cy="85822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2" name="Shape 31"/>
          <p:cNvSpPr txBox="1">
            <a:spLocks noGrp="1"/>
          </p:cNvSpPr>
          <p:nvPr>
            <p:ph type="body" idx="48" hasCustomPrompt="1"/>
          </p:nvPr>
        </p:nvSpPr>
        <p:spPr>
          <a:xfrm>
            <a:off x="7188921" y="4547453"/>
            <a:ext cx="4288148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37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38" name="Straight Connector 37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6" name="Slide Number Placeholder 3">
            <a:extLst>
              <a:ext uri="{FF2B5EF4-FFF2-40B4-BE49-F238E27FC236}">
                <a16:creationId xmlns:a16="http://schemas.microsoft.com/office/drawing/2014/main" id="{8E632A6B-9810-4B43-8526-A670C64BFF09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8706748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List + Subtitle">
    <p:bg>
      <p:bgPr>
        <a:solidFill>
          <a:schemeClr val="bg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Oval 32"/>
          <p:cNvSpPr/>
          <p:nvPr userDrawn="1"/>
        </p:nvSpPr>
        <p:spPr>
          <a:xfrm>
            <a:off x="487595" y="1099851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4" name="TextBox 33"/>
          <p:cNvSpPr txBox="1"/>
          <p:nvPr userDrawn="1"/>
        </p:nvSpPr>
        <p:spPr>
          <a:xfrm>
            <a:off x="595962" y="1135809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1</a:t>
            </a:r>
          </a:p>
        </p:txBody>
      </p:sp>
      <p:sp>
        <p:nvSpPr>
          <p:cNvPr id="35" name="Oval 34"/>
          <p:cNvSpPr/>
          <p:nvPr userDrawn="1"/>
        </p:nvSpPr>
        <p:spPr>
          <a:xfrm>
            <a:off x="486503" y="2332411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6" name="Oval 35"/>
          <p:cNvSpPr/>
          <p:nvPr userDrawn="1"/>
        </p:nvSpPr>
        <p:spPr>
          <a:xfrm>
            <a:off x="480960" y="3596866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7" name="TextBox 36"/>
          <p:cNvSpPr txBox="1"/>
          <p:nvPr userDrawn="1"/>
        </p:nvSpPr>
        <p:spPr>
          <a:xfrm>
            <a:off x="607827" y="2350083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2</a:t>
            </a:r>
          </a:p>
        </p:txBody>
      </p:sp>
      <p:sp>
        <p:nvSpPr>
          <p:cNvPr id="38" name="TextBox 37"/>
          <p:cNvSpPr txBox="1"/>
          <p:nvPr userDrawn="1"/>
        </p:nvSpPr>
        <p:spPr>
          <a:xfrm>
            <a:off x="589327" y="3632825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3</a:t>
            </a:r>
          </a:p>
        </p:txBody>
      </p:sp>
      <p:sp>
        <p:nvSpPr>
          <p:cNvPr id="39" name="Oval 38"/>
          <p:cNvSpPr/>
          <p:nvPr userDrawn="1"/>
        </p:nvSpPr>
        <p:spPr>
          <a:xfrm>
            <a:off x="504883" y="4893839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0" name="TextBox 39"/>
          <p:cNvSpPr txBox="1"/>
          <p:nvPr userDrawn="1"/>
        </p:nvSpPr>
        <p:spPr>
          <a:xfrm>
            <a:off x="613250" y="4929797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4</a:t>
            </a:r>
          </a:p>
        </p:txBody>
      </p:sp>
      <p:sp>
        <p:nvSpPr>
          <p:cNvPr id="41" name="Oval 40"/>
          <p:cNvSpPr/>
          <p:nvPr userDrawn="1"/>
        </p:nvSpPr>
        <p:spPr>
          <a:xfrm>
            <a:off x="6201908" y="1096896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6310276" y="1132855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5</a:t>
            </a:r>
          </a:p>
        </p:txBody>
      </p:sp>
      <p:sp>
        <p:nvSpPr>
          <p:cNvPr id="43" name="Oval 42"/>
          <p:cNvSpPr/>
          <p:nvPr userDrawn="1"/>
        </p:nvSpPr>
        <p:spPr>
          <a:xfrm>
            <a:off x="6200816" y="2329456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4" name="Oval 43"/>
          <p:cNvSpPr/>
          <p:nvPr userDrawn="1"/>
        </p:nvSpPr>
        <p:spPr>
          <a:xfrm>
            <a:off x="6195274" y="3593911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6303852" y="2365416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6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6303640" y="3629869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7</a:t>
            </a:r>
          </a:p>
        </p:txBody>
      </p:sp>
      <p:sp>
        <p:nvSpPr>
          <p:cNvPr id="63" name="Oval 62"/>
          <p:cNvSpPr/>
          <p:nvPr userDrawn="1"/>
        </p:nvSpPr>
        <p:spPr>
          <a:xfrm>
            <a:off x="6219196" y="4890884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64" name="TextBox 63"/>
          <p:cNvSpPr txBox="1"/>
          <p:nvPr userDrawn="1"/>
        </p:nvSpPr>
        <p:spPr>
          <a:xfrm>
            <a:off x="6327564" y="4926843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8</a:t>
            </a:r>
          </a:p>
        </p:txBody>
      </p:sp>
      <p:sp>
        <p:nvSpPr>
          <p:cNvPr id="65" name="Shape 31"/>
          <p:cNvSpPr txBox="1">
            <a:spLocks noGrp="1"/>
          </p:cNvSpPr>
          <p:nvPr>
            <p:ph type="body" idx="43"/>
          </p:nvPr>
        </p:nvSpPr>
        <p:spPr>
          <a:xfrm>
            <a:off x="1298730" y="1515253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6" name="Shape 31"/>
          <p:cNvSpPr txBox="1">
            <a:spLocks noGrp="1"/>
          </p:cNvSpPr>
          <p:nvPr>
            <p:ph type="body" idx="44" hasCustomPrompt="1"/>
          </p:nvPr>
        </p:nvSpPr>
        <p:spPr>
          <a:xfrm>
            <a:off x="1298729" y="1121943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67" name="Shape 31"/>
          <p:cNvSpPr txBox="1">
            <a:spLocks noGrp="1"/>
          </p:cNvSpPr>
          <p:nvPr>
            <p:ph type="body" idx="59"/>
          </p:nvPr>
        </p:nvSpPr>
        <p:spPr>
          <a:xfrm>
            <a:off x="1292094" y="2742881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8" name="Shape 31"/>
          <p:cNvSpPr txBox="1">
            <a:spLocks noGrp="1"/>
          </p:cNvSpPr>
          <p:nvPr>
            <p:ph type="body" idx="60" hasCustomPrompt="1"/>
          </p:nvPr>
        </p:nvSpPr>
        <p:spPr>
          <a:xfrm>
            <a:off x="1292093" y="2365613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69" name="Shape 31"/>
          <p:cNvSpPr txBox="1">
            <a:spLocks noGrp="1"/>
          </p:cNvSpPr>
          <p:nvPr>
            <p:ph type="body" idx="61"/>
          </p:nvPr>
        </p:nvSpPr>
        <p:spPr>
          <a:xfrm>
            <a:off x="1298729" y="4000161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0" name="Shape 31"/>
          <p:cNvSpPr txBox="1">
            <a:spLocks noGrp="1"/>
          </p:cNvSpPr>
          <p:nvPr>
            <p:ph type="body" idx="62" hasCustomPrompt="1"/>
          </p:nvPr>
        </p:nvSpPr>
        <p:spPr>
          <a:xfrm>
            <a:off x="1298727" y="3622893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71" name="Shape 31"/>
          <p:cNvSpPr txBox="1">
            <a:spLocks noGrp="1"/>
          </p:cNvSpPr>
          <p:nvPr>
            <p:ph type="body" idx="63"/>
          </p:nvPr>
        </p:nvSpPr>
        <p:spPr>
          <a:xfrm>
            <a:off x="1298729" y="5283569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2" name="Shape 31"/>
          <p:cNvSpPr txBox="1">
            <a:spLocks noGrp="1"/>
          </p:cNvSpPr>
          <p:nvPr>
            <p:ph type="body" idx="64" hasCustomPrompt="1"/>
          </p:nvPr>
        </p:nvSpPr>
        <p:spPr>
          <a:xfrm>
            <a:off x="1298727" y="4906301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73" name="Shape 31"/>
          <p:cNvSpPr txBox="1">
            <a:spLocks noGrp="1"/>
          </p:cNvSpPr>
          <p:nvPr>
            <p:ph type="body" idx="65"/>
          </p:nvPr>
        </p:nvSpPr>
        <p:spPr>
          <a:xfrm>
            <a:off x="7035874" y="1515877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4" name="Shape 31"/>
          <p:cNvSpPr txBox="1">
            <a:spLocks noGrp="1"/>
          </p:cNvSpPr>
          <p:nvPr>
            <p:ph type="body" idx="66" hasCustomPrompt="1"/>
          </p:nvPr>
        </p:nvSpPr>
        <p:spPr>
          <a:xfrm>
            <a:off x="7035873" y="1122567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75" name="Shape 31"/>
          <p:cNvSpPr txBox="1">
            <a:spLocks noGrp="1"/>
          </p:cNvSpPr>
          <p:nvPr>
            <p:ph type="body" idx="67"/>
          </p:nvPr>
        </p:nvSpPr>
        <p:spPr>
          <a:xfrm>
            <a:off x="7029238" y="2743505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6" name="Shape 31"/>
          <p:cNvSpPr txBox="1">
            <a:spLocks noGrp="1"/>
          </p:cNvSpPr>
          <p:nvPr>
            <p:ph type="body" idx="68" hasCustomPrompt="1"/>
          </p:nvPr>
        </p:nvSpPr>
        <p:spPr>
          <a:xfrm>
            <a:off x="7029237" y="2366236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77" name="Shape 31"/>
          <p:cNvSpPr txBox="1">
            <a:spLocks noGrp="1"/>
          </p:cNvSpPr>
          <p:nvPr>
            <p:ph type="body" idx="69"/>
          </p:nvPr>
        </p:nvSpPr>
        <p:spPr>
          <a:xfrm>
            <a:off x="7035873" y="4000785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8" name="Shape 31"/>
          <p:cNvSpPr txBox="1">
            <a:spLocks noGrp="1"/>
          </p:cNvSpPr>
          <p:nvPr>
            <p:ph type="body" idx="70" hasCustomPrompt="1"/>
          </p:nvPr>
        </p:nvSpPr>
        <p:spPr>
          <a:xfrm>
            <a:off x="7035871" y="3623517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79" name="Shape 31"/>
          <p:cNvSpPr txBox="1">
            <a:spLocks noGrp="1"/>
          </p:cNvSpPr>
          <p:nvPr>
            <p:ph type="body" idx="71"/>
          </p:nvPr>
        </p:nvSpPr>
        <p:spPr>
          <a:xfrm>
            <a:off x="7035873" y="5284193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0" name="Shape 31"/>
          <p:cNvSpPr txBox="1">
            <a:spLocks noGrp="1"/>
          </p:cNvSpPr>
          <p:nvPr>
            <p:ph type="body" idx="72" hasCustomPrompt="1"/>
          </p:nvPr>
        </p:nvSpPr>
        <p:spPr>
          <a:xfrm>
            <a:off x="7035871" y="4906925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51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52" name="Straight Connector 51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50" name="Slide Number Placeholder 3">
            <a:extLst>
              <a:ext uri="{FF2B5EF4-FFF2-40B4-BE49-F238E27FC236}">
                <a16:creationId xmlns:a16="http://schemas.microsoft.com/office/drawing/2014/main" id="{E47F0787-13C4-0B49-8EB0-300773870C26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5826270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A02EFA8-86F7-5C31-5104-2B65D8041E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E99DDD42-FE2D-D642-E110-28A55F33B80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CACB5C9A-7214-BCB4-B9BE-927047969E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24/10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EA1B8953-B924-11B7-DBFD-A8DFF31959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7C1870E9-08A1-92E7-76BB-5C53933742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3523445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List">
    <p:bg>
      <p:bgPr>
        <a:solidFill>
          <a:schemeClr val="bg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Oval 46"/>
          <p:cNvSpPr/>
          <p:nvPr userDrawn="1"/>
        </p:nvSpPr>
        <p:spPr>
          <a:xfrm>
            <a:off x="659834" y="1310372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768200" y="1346332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1</a:t>
            </a:r>
          </a:p>
        </p:txBody>
      </p:sp>
      <p:sp>
        <p:nvSpPr>
          <p:cNvPr id="49" name="Oval 48"/>
          <p:cNvSpPr/>
          <p:nvPr userDrawn="1"/>
        </p:nvSpPr>
        <p:spPr>
          <a:xfrm>
            <a:off x="665376" y="2861919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50" name="Oval 49"/>
          <p:cNvSpPr/>
          <p:nvPr userDrawn="1"/>
        </p:nvSpPr>
        <p:spPr>
          <a:xfrm>
            <a:off x="659834" y="4507176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51" name="TextBox 50"/>
          <p:cNvSpPr txBox="1"/>
          <p:nvPr userDrawn="1"/>
        </p:nvSpPr>
        <p:spPr>
          <a:xfrm>
            <a:off x="768412" y="2879589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2</a:t>
            </a:r>
          </a:p>
        </p:txBody>
      </p:sp>
      <p:sp>
        <p:nvSpPr>
          <p:cNvPr id="52" name="TextBox 51"/>
          <p:cNvSpPr txBox="1"/>
          <p:nvPr userDrawn="1"/>
        </p:nvSpPr>
        <p:spPr>
          <a:xfrm>
            <a:off x="768200" y="4543135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3</a:t>
            </a:r>
          </a:p>
        </p:txBody>
      </p:sp>
      <p:sp>
        <p:nvSpPr>
          <p:cNvPr id="53" name="Shape 31"/>
          <p:cNvSpPr txBox="1">
            <a:spLocks noGrp="1"/>
          </p:cNvSpPr>
          <p:nvPr>
            <p:ph type="body" idx="43"/>
          </p:nvPr>
        </p:nvSpPr>
        <p:spPr>
          <a:xfrm>
            <a:off x="1363341" y="1326414"/>
            <a:ext cx="9893907" cy="925311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Shape 31"/>
          <p:cNvSpPr txBox="1">
            <a:spLocks noGrp="1"/>
          </p:cNvSpPr>
          <p:nvPr>
            <p:ph type="body" idx="44"/>
          </p:nvPr>
        </p:nvSpPr>
        <p:spPr>
          <a:xfrm>
            <a:off x="1379383" y="2861918"/>
            <a:ext cx="9893907" cy="925311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5" name="Shape 31"/>
          <p:cNvSpPr txBox="1">
            <a:spLocks noGrp="1"/>
          </p:cNvSpPr>
          <p:nvPr>
            <p:ph type="body" idx="45"/>
          </p:nvPr>
        </p:nvSpPr>
        <p:spPr>
          <a:xfrm>
            <a:off x="1379383" y="4507175"/>
            <a:ext cx="9893907" cy="925311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7" name="Slide Number Placeholder 3">
            <a:extLst>
              <a:ext uri="{FF2B5EF4-FFF2-40B4-BE49-F238E27FC236}">
                <a16:creationId xmlns:a16="http://schemas.microsoft.com/office/drawing/2014/main" id="{C2C29879-693B-0E4E-97BB-C12E79899946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143622391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edback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hape 31"/>
          <p:cNvSpPr txBox="1">
            <a:spLocks noGrp="1"/>
          </p:cNvSpPr>
          <p:nvPr>
            <p:ph type="body" idx="11"/>
          </p:nvPr>
        </p:nvSpPr>
        <p:spPr>
          <a:xfrm>
            <a:off x="303217" y="2689119"/>
            <a:ext cx="2452207" cy="201631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Shape 31"/>
          <p:cNvSpPr txBox="1">
            <a:spLocks noGrp="1"/>
          </p:cNvSpPr>
          <p:nvPr>
            <p:ph type="body" idx="14" hasCustomPrompt="1"/>
          </p:nvPr>
        </p:nvSpPr>
        <p:spPr>
          <a:xfrm>
            <a:off x="303217" y="4693263"/>
            <a:ext cx="2452207" cy="475204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Author</a:t>
            </a:r>
            <a:endParaRPr dirty="0"/>
          </a:p>
        </p:txBody>
      </p:sp>
      <p:sp>
        <p:nvSpPr>
          <p:cNvPr id="20" name="Shape 31"/>
          <p:cNvSpPr txBox="1">
            <a:spLocks noGrp="1"/>
          </p:cNvSpPr>
          <p:nvPr>
            <p:ph type="body" idx="15"/>
          </p:nvPr>
        </p:nvSpPr>
        <p:spPr>
          <a:xfrm>
            <a:off x="3347673" y="2689119"/>
            <a:ext cx="2452207" cy="201631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Shape 31"/>
          <p:cNvSpPr txBox="1">
            <a:spLocks noGrp="1"/>
          </p:cNvSpPr>
          <p:nvPr>
            <p:ph type="body" idx="16" hasCustomPrompt="1"/>
          </p:nvPr>
        </p:nvSpPr>
        <p:spPr>
          <a:xfrm>
            <a:off x="3347673" y="4693263"/>
            <a:ext cx="2452207" cy="475204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Author</a:t>
            </a:r>
            <a:endParaRPr dirty="0"/>
          </a:p>
        </p:txBody>
      </p:sp>
      <p:sp>
        <p:nvSpPr>
          <p:cNvPr id="22" name="Shape 31"/>
          <p:cNvSpPr txBox="1">
            <a:spLocks noGrp="1"/>
          </p:cNvSpPr>
          <p:nvPr>
            <p:ph type="body" idx="17"/>
          </p:nvPr>
        </p:nvSpPr>
        <p:spPr>
          <a:xfrm>
            <a:off x="6392129" y="2675310"/>
            <a:ext cx="2452207" cy="201631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Shape 31"/>
          <p:cNvSpPr txBox="1">
            <a:spLocks noGrp="1"/>
          </p:cNvSpPr>
          <p:nvPr>
            <p:ph type="body" idx="18" hasCustomPrompt="1"/>
          </p:nvPr>
        </p:nvSpPr>
        <p:spPr>
          <a:xfrm>
            <a:off x="6392129" y="4700719"/>
            <a:ext cx="2452207" cy="475204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Author</a:t>
            </a:r>
            <a:endParaRPr dirty="0"/>
          </a:p>
        </p:txBody>
      </p:sp>
      <p:sp>
        <p:nvSpPr>
          <p:cNvPr id="24" name="Shape 31"/>
          <p:cNvSpPr txBox="1">
            <a:spLocks noGrp="1"/>
          </p:cNvSpPr>
          <p:nvPr>
            <p:ph type="body" idx="19"/>
          </p:nvPr>
        </p:nvSpPr>
        <p:spPr>
          <a:xfrm>
            <a:off x="9436585" y="2675310"/>
            <a:ext cx="2452207" cy="201631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Shape 31"/>
          <p:cNvSpPr txBox="1">
            <a:spLocks noGrp="1"/>
          </p:cNvSpPr>
          <p:nvPr>
            <p:ph type="body" idx="20" hasCustomPrompt="1"/>
          </p:nvPr>
        </p:nvSpPr>
        <p:spPr>
          <a:xfrm>
            <a:off x="9436585" y="4700719"/>
            <a:ext cx="2452207" cy="475204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Author</a:t>
            </a:r>
            <a:endParaRPr dirty="0"/>
          </a:p>
        </p:txBody>
      </p:sp>
      <p:sp>
        <p:nvSpPr>
          <p:cNvPr id="34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69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35" name="Straight Connector 34"/>
          <p:cNvCxnSpPr/>
          <p:nvPr userDrawn="1"/>
        </p:nvCxnSpPr>
        <p:spPr>
          <a:xfrm>
            <a:off x="303217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1" name="Oval 30"/>
          <p:cNvSpPr/>
          <p:nvPr userDrawn="1"/>
        </p:nvSpPr>
        <p:spPr>
          <a:xfrm>
            <a:off x="303216" y="1672522"/>
            <a:ext cx="733793" cy="73379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3" name="TextBox 32"/>
          <p:cNvSpPr txBox="1"/>
          <p:nvPr userDrawn="1"/>
        </p:nvSpPr>
        <p:spPr>
          <a:xfrm>
            <a:off x="343956" y="1607832"/>
            <a:ext cx="64297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600" b="1" i="0" dirty="0">
                <a:solidFill>
                  <a:schemeClr val="bg1"/>
                </a:solidFill>
                <a:latin typeface="Times New Roman" charset="0"/>
                <a:ea typeface="Times New Roman" charset="0"/>
                <a:cs typeface="Times New Roman" charset="0"/>
              </a:rPr>
              <a:t>“</a:t>
            </a:r>
          </a:p>
        </p:txBody>
      </p:sp>
      <p:sp>
        <p:nvSpPr>
          <p:cNvPr id="36" name="Oval 35"/>
          <p:cNvSpPr/>
          <p:nvPr userDrawn="1"/>
        </p:nvSpPr>
        <p:spPr>
          <a:xfrm>
            <a:off x="3322635" y="1672522"/>
            <a:ext cx="733793" cy="73379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7" name="TextBox 36"/>
          <p:cNvSpPr txBox="1"/>
          <p:nvPr userDrawn="1"/>
        </p:nvSpPr>
        <p:spPr>
          <a:xfrm>
            <a:off x="3363375" y="1607832"/>
            <a:ext cx="64297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600" b="1" i="0" dirty="0">
                <a:solidFill>
                  <a:schemeClr val="bg1"/>
                </a:solidFill>
                <a:latin typeface="Times New Roman" charset="0"/>
                <a:ea typeface="Times New Roman" charset="0"/>
                <a:cs typeface="Times New Roman" charset="0"/>
              </a:rPr>
              <a:t>“</a:t>
            </a:r>
          </a:p>
        </p:txBody>
      </p:sp>
      <p:sp>
        <p:nvSpPr>
          <p:cNvPr id="38" name="Oval 37"/>
          <p:cNvSpPr/>
          <p:nvPr userDrawn="1"/>
        </p:nvSpPr>
        <p:spPr>
          <a:xfrm>
            <a:off x="6377080" y="1672522"/>
            <a:ext cx="733793" cy="7337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9" name="TextBox 38"/>
          <p:cNvSpPr txBox="1"/>
          <p:nvPr userDrawn="1"/>
        </p:nvSpPr>
        <p:spPr>
          <a:xfrm>
            <a:off x="6417820" y="1607832"/>
            <a:ext cx="64297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600" b="1" i="0" dirty="0">
                <a:solidFill>
                  <a:schemeClr val="bg1"/>
                </a:solidFill>
                <a:latin typeface="Times New Roman" charset="0"/>
                <a:ea typeface="Times New Roman" charset="0"/>
                <a:cs typeface="Times New Roman" charset="0"/>
              </a:rPr>
              <a:t>“</a:t>
            </a:r>
          </a:p>
        </p:txBody>
      </p:sp>
      <p:sp>
        <p:nvSpPr>
          <p:cNvPr id="40" name="Oval 39"/>
          <p:cNvSpPr/>
          <p:nvPr userDrawn="1"/>
        </p:nvSpPr>
        <p:spPr>
          <a:xfrm>
            <a:off x="9431525" y="1672522"/>
            <a:ext cx="733793" cy="733793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9472265" y="1607832"/>
            <a:ext cx="64297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600" b="1" i="0" dirty="0">
                <a:solidFill>
                  <a:schemeClr val="bg1"/>
                </a:solidFill>
                <a:latin typeface="Times New Roman" charset="0"/>
                <a:ea typeface="Times New Roman" charset="0"/>
                <a:cs typeface="Times New Roman" charset="0"/>
              </a:rPr>
              <a:t>“</a:t>
            </a:r>
          </a:p>
        </p:txBody>
      </p:sp>
      <p:sp>
        <p:nvSpPr>
          <p:cNvPr id="27" name="Slide Number Placeholder 3">
            <a:extLst>
              <a:ext uri="{FF2B5EF4-FFF2-40B4-BE49-F238E27FC236}">
                <a16:creationId xmlns:a16="http://schemas.microsoft.com/office/drawing/2014/main" id="{6682D3DF-39CE-2248-A0DC-5F21CF69434F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156647343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s">
    <p:bg>
      <p:bgPr>
        <a:solidFill>
          <a:schemeClr val="bg1"/>
        </a:solidFill>
        <a:effectLst/>
      </p:bgPr>
    </p:bg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39285" y="5110983"/>
            <a:ext cx="1105403" cy="700088"/>
          </a:xfrm>
          <a:prstGeom prst="rect">
            <a:avLst/>
          </a:prstGeom>
        </p:spPr>
      </p:pic>
      <p:sp>
        <p:nvSpPr>
          <p:cNvPr id="4" name="TextBox 3"/>
          <p:cNvSpPr txBox="1"/>
          <p:nvPr userDrawn="1"/>
        </p:nvSpPr>
        <p:spPr>
          <a:xfrm>
            <a:off x="3557334" y="5922208"/>
            <a:ext cx="506930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0" i="0" dirty="0">
                <a:latin typeface="IBM Plex Sans Medium" charset="0"/>
                <a:ea typeface="IBM Plex Sans Medium" charset="0"/>
                <a:cs typeface="IBM Plex Sans Medium" charset="0"/>
              </a:rPr>
              <a:t>Questions?</a:t>
            </a: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57D1EAEB-2437-A04A-B9D8-EA84FF80D994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40301604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solidFill>
          <a:schemeClr val="bg1"/>
        </a:solidFill>
        <a:effectLst/>
      </p:bgPr>
    </p:bg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39285" y="5110983"/>
            <a:ext cx="1105403" cy="700088"/>
          </a:xfrm>
          <a:prstGeom prst="rect">
            <a:avLst/>
          </a:prstGeom>
        </p:spPr>
      </p:pic>
      <p:sp>
        <p:nvSpPr>
          <p:cNvPr id="4" name="TextBox 3"/>
          <p:cNvSpPr txBox="1"/>
          <p:nvPr userDrawn="1"/>
        </p:nvSpPr>
        <p:spPr>
          <a:xfrm>
            <a:off x="3557334" y="5922208"/>
            <a:ext cx="506930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0" i="0" dirty="0">
                <a:latin typeface="IBM Plex Sans Medium" charset="0"/>
                <a:ea typeface="IBM Plex Sans Medium" charset="0"/>
                <a:cs typeface="IBM Plex Sans Medium" charset="0"/>
              </a:rPr>
              <a:t>Thank You.</a:t>
            </a: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764764F1-ACE4-AC42-9CF5-CBDF23C02AD3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49334502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12192000" cy="4620126"/>
          </a:xfrm>
          <a:prstGeom prst="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9397" y="0"/>
            <a:ext cx="6834022" cy="6386088"/>
          </a:xfrm>
          <a:prstGeom prst="rect">
            <a:avLst/>
          </a:prstGeom>
        </p:spPr>
      </p:pic>
      <p:sp>
        <p:nvSpPr>
          <p:cNvPr id="8" name="Shape 9"/>
          <p:cNvSpPr txBox="1">
            <a:spLocks noGrp="1"/>
          </p:cNvSpPr>
          <p:nvPr>
            <p:ph type="ctrTitle"/>
          </p:nvPr>
        </p:nvSpPr>
        <p:spPr>
          <a:xfrm>
            <a:off x="1091698" y="1122946"/>
            <a:ext cx="9940095" cy="865451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buSzPct val="100000"/>
              <a:defRPr sz="4800" b="0" i="0">
                <a:solidFill>
                  <a:schemeClr val="bg1"/>
                </a:solidFill>
                <a:latin typeface="IBM Plex Sans Medium" charset="0"/>
                <a:ea typeface="IBM Plex Sans Medium" charset="0"/>
                <a:cs typeface="IBM Plex Sans Medium" charset="0"/>
              </a:defRPr>
            </a:lvl1pPr>
            <a:lvl2pPr lvl="1">
              <a:spcBef>
                <a:spcPts val="0"/>
              </a:spcBef>
              <a:buSzPct val="100000"/>
              <a:defRPr sz="4800"/>
            </a:lvl2pPr>
            <a:lvl3pPr lvl="2">
              <a:spcBef>
                <a:spcPts val="0"/>
              </a:spcBef>
              <a:buSzPct val="100000"/>
              <a:defRPr sz="4800"/>
            </a:lvl3pPr>
            <a:lvl4pPr lvl="3">
              <a:spcBef>
                <a:spcPts val="0"/>
              </a:spcBef>
              <a:buSzPct val="100000"/>
              <a:defRPr sz="4800"/>
            </a:lvl4pPr>
            <a:lvl5pPr lvl="4">
              <a:spcBef>
                <a:spcPts val="0"/>
              </a:spcBef>
              <a:buSzPct val="100000"/>
              <a:defRPr sz="4800"/>
            </a:lvl5pPr>
            <a:lvl6pPr lvl="5">
              <a:spcBef>
                <a:spcPts val="0"/>
              </a:spcBef>
              <a:buSzPct val="100000"/>
              <a:defRPr sz="4800"/>
            </a:lvl6pPr>
            <a:lvl7pPr lvl="6">
              <a:spcBef>
                <a:spcPts val="0"/>
              </a:spcBef>
              <a:buSzPct val="100000"/>
              <a:defRPr sz="4800"/>
            </a:lvl7pPr>
            <a:lvl8pPr lvl="7">
              <a:spcBef>
                <a:spcPts val="0"/>
              </a:spcBef>
              <a:buSzPct val="100000"/>
              <a:defRPr sz="4800"/>
            </a:lvl8pPr>
            <a:lvl9pPr lvl="8">
              <a:spcBef>
                <a:spcPts val="0"/>
              </a:spcBef>
              <a:buSzPct val="100000"/>
              <a:defRPr sz="4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9" name="Text Placeholder 24"/>
          <p:cNvSpPr>
            <a:spLocks noGrp="1"/>
          </p:cNvSpPr>
          <p:nvPr>
            <p:ph type="body" sz="quarter" idx="10" hasCustomPrompt="1"/>
          </p:nvPr>
        </p:nvSpPr>
        <p:spPr>
          <a:xfrm>
            <a:off x="1092200" y="3035300"/>
            <a:ext cx="4995863" cy="685800"/>
          </a:xfrm>
        </p:spPr>
        <p:txBody>
          <a:bodyPr/>
          <a:lstStyle>
            <a:lvl1pPr>
              <a:buClr>
                <a:schemeClr val="bg1"/>
              </a:buClr>
              <a:buNone/>
              <a:defRPr sz="1800" b="0" i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r>
              <a:rPr lang="en-US" dirty="0"/>
              <a:t>Click to add date (month xx, </a:t>
            </a:r>
            <a:r>
              <a:rPr lang="en-US" dirty="0" err="1"/>
              <a:t>xxxx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61553554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12192000" cy="4620126"/>
          </a:xfrm>
          <a:prstGeom prst="rect">
            <a:avLst/>
          </a:prstGeom>
          <a:solidFill>
            <a:srgbClr val="BE95FF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9397" y="0"/>
            <a:ext cx="6834022" cy="6386088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Shape 9"/>
          <p:cNvSpPr txBox="1">
            <a:spLocks noGrp="1"/>
          </p:cNvSpPr>
          <p:nvPr>
            <p:ph type="ctrTitle"/>
          </p:nvPr>
        </p:nvSpPr>
        <p:spPr>
          <a:xfrm>
            <a:off x="1091698" y="1122946"/>
            <a:ext cx="9940095" cy="865451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buSzPct val="100000"/>
              <a:defRPr sz="4800" b="0" i="0">
                <a:solidFill>
                  <a:schemeClr val="bg1"/>
                </a:solidFill>
                <a:latin typeface="IBM Plex Sans Medium" charset="0"/>
                <a:ea typeface="IBM Plex Sans Medium" charset="0"/>
                <a:cs typeface="IBM Plex Sans Medium" charset="0"/>
              </a:defRPr>
            </a:lvl1pPr>
            <a:lvl2pPr lvl="1">
              <a:spcBef>
                <a:spcPts val="0"/>
              </a:spcBef>
              <a:buSzPct val="100000"/>
              <a:defRPr sz="4800"/>
            </a:lvl2pPr>
            <a:lvl3pPr lvl="2">
              <a:spcBef>
                <a:spcPts val="0"/>
              </a:spcBef>
              <a:buSzPct val="100000"/>
              <a:defRPr sz="4800"/>
            </a:lvl3pPr>
            <a:lvl4pPr lvl="3">
              <a:spcBef>
                <a:spcPts val="0"/>
              </a:spcBef>
              <a:buSzPct val="100000"/>
              <a:defRPr sz="4800"/>
            </a:lvl4pPr>
            <a:lvl5pPr lvl="4">
              <a:spcBef>
                <a:spcPts val="0"/>
              </a:spcBef>
              <a:buSzPct val="100000"/>
              <a:defRPr sz="4800"/>
            </a:lvl5pPr>
            <a:lvl6pPr lvl="5">
              <a:spcBef>
                <a:spcPts val="0"/>
              </a:spcBef>
              <a:buSzPct val="100000"/>
              <a:defRPr sz="4800"/>
            </a:lvl6pPr>
            <a:lvl7pPr lvl="6">
              <a:spcBef>
                <a:spcPts val="0"/>
              </a:spcBef>
              <a:buSzPct val="100000"/>
              <a:defRPr sz="4800"/>
            </a:lvl7pPr>
            <a:lvl8pPr lvl="7">
              <a:spcBef>
                <a:spcPts val="0"/>
              </a:spcBef>
              <a:buSzPct val="100000"/>
              <a:defRPr sz="4800"/>
            </a:lvl8pPr>
            <a:lvl9pPr lvl="8">
              <a:spcBef>
                <a:spcPts val="0"/>
              </a:spcBef>
              <a:buSzPct val="100000"/>
              <a:defRPr sz="4800"/>
            </a:lvl9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9" name="Text Placeholder 24"/>
          <p:cNvSpPr>
            <a:spLocks noGrp="1"/>
          </p:cNvSpPr>
          <p:nvPr>
            <p:ph type="body" sz="quarter" idx="10" hasCustomPrompt="1"/>
          </p:nvPr>
        </p:nvSpPr>
        <p:spPr>
          <a:xfrm>
            <a:off x="1092200" y="3035300"/>
            <a:ext cx="4995863" cy="685800"/>
          </a:xfrm>
        </p:spPr>
        <p:txBody>
          <a:bodyPr/>
          <a:lstStyle>
            <a:lvl1pPr>
              <a:buClr>
                <a:schemeClr val="bg1"/>
              </a:buClr>
              <a:buNone/>
              <a:defRPr sz="1800" b="0" i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r>
              <a:rPr lang="en-US" dirty="0"/>
              <a:t>Click to add date (month xx, </a:t>
            </a:r>
            <a:r>
              <a:rPr lang="en-US" dirty="0" err="1"/>
              <a:t>xxxx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96899975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12192000" cy="4620126"/>
          </a:xfrm>
          <a:prstGeom prst="rect">
            <a:avLst/>
          </a:prstGeom>
          <a:solidFill>
            <a:srgbClr val="3351C3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9397" y="0"/>
            <a:ext cx="6834022" cy="6386088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Shape 9"/>
          <p:cNvSpPr txBox="1">
            <a:spLocks noGrp="1"/>
          </p:cNvSpPr>
          <p:nvPr>
            <p:ph type="ctrTitle"/>
          </p:nvPr>
        </p:nvSpPr>
        <p:spPr>
          <a:xfrm>
            <a:off x="1091698" y="1122946"/>
            <a:ext cx="9940095" cy="865451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buSzPct val="100000"/>
              <a:defRPr sz="4800" b="0" i="0">
                <a:solidFill>
                  <a:schemeClr val="bg1"/>
                </a:solidFill>
                <a:latin typeface="IBM Plex Sans Medium" charset="0"/>
                <a:ea typeface="IBM Plex Sans Medium" charset="0"/>
                <a:cs typeface="IBM Plex Sans Medium" charset="0"/>
              </a:defRPr>
            </a:lvl1pPr>
            <a:lvl2pPr lvl="1">
              <a:spcBef>
                <a:spcPts val="0"/>
              </a:spcBef>
              <a:buSzPct val="100000"/>
              <a:defRPr sz="4800"/>
            </a:lvl2pPr>
            <a:lvl3pPr lvl="2">
              <a:spcBef>
                <a:spcPts val="0"/>
              </a:spcBef>
              <a:buSzPct val="100000"/>
              <a:defRPr sz="4800"/>
            </a:lvl3pPr>
            <a:lvl4pPr lvl="3">
              <a:spcBef>
                <a:spcPts val="0"/>
              </a:spcBef>
              <a:buSzPct val="100000"/>
              <a:defRPr sz="4800"/>
            </a:lvl4pPr>
            <a:lvl5pPr lvl="4">
              <a:spcBef>
                <a:spcPts val="0"/>
              </a:spcBef>
              <a:buSzPct val="100000"/>
              <a:defRPr sz="4800"/>
            </a:lvl5pPr>
            <a:lvl6pPr lvl="5">
              <a:spcBef>
                <a:spcPts val="0"/>
              </a:spcBef>
              <a:buSzPct val="100000"/>
              <a:defRPr sz="4800"/>
            </a:lvl6pPr>
            <a:lvl7pPr lvl="6">
              <a:spcBef>
                <a:spcPts val="0"/>
              </a:spcBef>
              <a:buSzPct val="100000"/>
              <a:defRPr sz="4800"/>
            </a:lvl7pPr>
            <a:lvl8pPr lvl="7">
              <a:spcBef>
                <a:spcPts val="0"/>
              </a:spcBef>
              <a:buSzPct val="100000"/>
              <a:defRPr sz="4800"/>
            </a:lvl8pPr>
            <a:lvl9pPr lvl="8">
              <a:spcBef>
                <a:spcPts val="0"/>
              </a:spcBef>
              <a:buSzPct val="100000"/>
              <a:defRPr sz="4800"/>
            </a:lvl9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9" name="Text Placeholder 24"/>
          <p:cNvSpPr>
            <a:spLocks noGrp="1"/>
          </p:cNvSpPr>
          <p:nvPr>
            <p:ph type="body" sz="quarter" idx="10" hasCustomPrompt="1"/>
          </p:nvPr>
        </p:nvSpPr>
        <p:spPr>
          <a:xfrm>
            <a:off x="1092200" y="3035300"/>
            <a:ext cx="4995863" cy="685800"/>
          </a:xfrm>
        </p:spPr>
        <p:txBody>
          <a:bodyPr/>
          <a:lstStyle>
            <a:lvl1pPr>
              <a:buClr>
                <a:schemeClr val="bg1"/>
              </a:buClr>
              <a:buNone/>
              <a:defRPr sz="1800" b="0" i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r>
              <a:rPr lang="en-US" dirty="0"/>
              <a:t>Click to add date (month xx, </a:t>
            </a:r>
            <a:r>
              <a:rPr lang="en-US" dirty="0" err="1"/>
              <a:t>xxxx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82854971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text (split background)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8" name="Group 1"/>
          <p:cNvGrpSpPr/>
          <p:nvPr/>
        </p:nvGrpSpPr>
        <p:grpSpPr>
          <a:xfrm>
            <a:off x="-146307" y="-146474"/>
            <a:ext cx="12485628" cy="7152641"/>
            <a:chOff x="0" y="0"/>
            <a:chExt cx="24971254" cy="14305280"/>
          </a:xfrm>
        </p:grpSpPr>
        <p:grpSp>
          <p:nvGrpSpPr>
            <p:cNvPr id="495" name="Group 59"/>
            <p:cNvGrpSpPr/>
            <p:nvPr/>
          </p:nvGrpSpPr>
          <p:grpSpPr>
            <a:xfrm>
              <a:off x="903906" y="-1"/>
              <a:ext cx="23164620" cy="243842"/>
              <a:chOff x="0" y="0"/>
              <a:chExt cx="23164618" cy="243840"/>
            </a:xfrm>
          </p:grpSpPr>
          <p:sp>
            <p:nvSpPr>
              <p:cNvPr id="484" name="Straight Connector 92"/>
              <p:cNvSpPr/>
              <p:nvPr/>
            </p:nvSpPr>
            <p:spPr>
              <a:xfrm flipV="1">
                <a:off x="-1" y="-1"/>
                <a:ext cx="2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5" name="Straight Connector 93"/>
              <p:cNvSpPr/>
              <p:nvPr/>
            </p:nvSpPr>
            <p:spPr>
              <a:xfrm flipV="1">
                <a:off x="4876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6" name="Straight Connector 94"/>
              <p:cNvSpPr/>
              <p:nvPr/>
            </p:nvSpPr>
            <p:spPr>
              <a:xfrm flipV="1">
                <a:off x="5486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7" name="Straight Connector 95"/>
              <p:cNvSpPr/>
              <p:nvPr/>
            </p:nvSpPr>
            <p:spPr>
              <a:xfrm flipV="1">
                <a:off x="6096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8" name="Straight Connector 96"/>
              <p:cNvSpPr/>
              <p:nvPr/>
            </p:nvSpPr>
            <p:spPr>
              <a:xfrm flipV="1">
                <a:off x="10972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9" name="Straight Connector 97"/>
              <p:cNvSpPr/>
              <p:nvPr/>
            </p:nvSpPr>
            <p:spPr>
              <a:xfrm flipV="1">
                <a:off x="11582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0" name="Straight Connector 98"/>
              <p:cNvSpPr/>
              <p:nvPr/>
            </p:nvSpPr>
            <p:spPr>
              <a:xfrm flipV="1">
                <a:off x="12192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1" name="Straight Connector 99"/>
              <p:cNvSpPr/>
              <p:nvPr/>
            </p:nvSpPr>
            <p:spPr>
              <a:xfrm flipV="1">
                <a:off x="17068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2" name="Straight Connector 100"/>
              <p:cNvSpPr/>
              <p:nvPr/>
            </p:nvSpPr>
            <p:spPr>
              <a:xfrm flipV="1">
                <a:off x="176784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3" name="Straight Connector 101"/>
              <p:cNvSpPr/>
              <p:nvPr/>
            </p:nvSpPr>
            <p:spPr>
              <a:xfrm flipV="1">
                <a:off x="182880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4" name="Straight Connector 102"/>
              <p:cNvSpPr/>
              <p:nvPr/>
            </p:nvSpPr>
            <p:spPr>
              <a:xfrm flipV="1">
                <a:off x="23164618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  <p:grpSp>
          <p:nvGrpSpPr>
            <p:cNvPr id="507" name="Group 60"/>
            <p:cNvGrpSpPr/>
            <p:nvPr/>
          </p:nvGrpSpPr>
          <p:grpSpPr>
            <a:xfrm>
              <a:off x="903906" y="14061440"/>
              <a:ext cx="23164620" cy="243841"/>
              <a:chOff x="0" y="0"/>
              <a:chExt cx="23164618" cy="243840"/>
            </a:xfrm>
          </p:grpSpPr>
          <p:sp>
            <p:nvSpPr>
              <p:cNvPr id="496" name="Straight Connector 81"/>
              <p:cNvSpPr/>
              <p:nvPr/>
            </p:nvSpPr>
            <p:spPr>
              <a:xfrm flipV="1">
                <a:off x="-1" y="-1"/>
                <a:ext cx="2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7" name="Straight Connector 82"/>
              <p:cNvSpPr/>
              <p:nvPr/>
            </p:nvSpPr>
            <p:spPr>
              <a:xfrm flipV="1">
                <a:off x="4876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8" name="Straight Connector 83"/>
              <p:cNvSpPr/>
              <p:nvPr/>
            </p:nvSpPr>
            <p:spPr>
              <a:xfrm flipV="1">
                <a:off x="5486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9" name="Straight Connector 84"/>
              <p:cNvSpPr/>
              <p:nvPr/>
            </p:nvSpPr>
            <p:spPr>
              <a:xfrm flipV="1">
                <a:off x="6096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0" name="Straight Connector 85"/>
              <p:cNvSpPr/>
              <p:nvPr/>
            </p:nvSpPr>
            <p:spPr>
              <a:xfrm flipV="1">
                <a:off x="10972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1" name="Straight Connector 86"/>
              <p:cNvSpPr/>
              <p:nvPr/>
            </p:nvSpPr>
            <p:spPr>
              <a:xfrm flipV="1">
                <a:off x="11582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2" name="Straight Connector 87"/>
              <p:cNvSpPr/>
              <p:nvPr/>
            </p:nvSpPr>
            <p:spPr>
              <a:xfrm flipV="1">
                <a:off x="12192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3" name="Straight Connector 88"/>
              <p:cNvSpPr/>
              <p:nvPr/>
            </p:nvSpPr>
            <p:spPr>
              <a:xfrm flipV="1">
                <a:off x="17068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4" name="Straight Connector 89"/>
              <p:cNvSpPr/>
              <p:nvPr/>
            </p:nvSpPr>
            <p:spPr>
              <a:xfrm flipV="1">
                <a:off x="176784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5" name="Straight Connector 90"/>
              <p:cNvSpPr/>
              <p:nvPr/>
            </p:nvSpPr>
            <p:spPr>
              <a:xfrm flipV="1">
                <a:off x="182880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6" name="Straight Connector 91"/>
              <p:cNvSpPr/>
              <p:nvPr/>
            </p:nvSpPr>
            <p:spPr>
              <a:xfrm flipV="1">
                <a:off x="23164618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  <p:grpSp>
          <p:nvGrpSpPr>
            <p:cNvPr id="517" name="Group 61"/>
            <p:cNvGrpSpPr/>
            <p:nvPr/>
          </p:nvGrpSpPr>
          <p:grpSpPr>
            <a:xfrm>
              <a:off x="-1" y="926930"/>
              <a:ext cx="243842" cy="12438551"/>
              <a:chOff x="0" y="0"/>
              <a:chExt cx="243840" cy="12438549"/>
            </a:xfrm>
          </p:grpSpPr>
          <p:sp>
            <p:nvSpPr>
              <p:cNvPr id="508" name="Straight Connector 72"/>
              <p:cNvSpPr/>
              <p:nvPr/>
            </p:nvSpPr>
            <p:spPr>
              <a:xfrm flipH="1">
                <a:off x="0" y="110947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9" name="Straight Connector 73"/>
              <p:cNvSpPr/>
              <p:nvPr/>
            </p:nvSpPr>
            <p:spPr>
              <a:xfrm flipH="1">
                <a:off x="0" y="2804159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0" name="Straight Connector 74"/>
              <p:cNvSpPr/>
              <p:nvPr/>
            </p:nvSpPr>
            <p:spPr>
              <a:xfrm flipH="1">
                <a:off x="0" y="451104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1" name="Straight Connector 75"/>
              <p:cNvSpPr/>
              <p:nvPr/>
            </p:nvSpPr>
            <p:spPr>
              <a:xfrm flipH="1">
                <a:off x="0" y="6221989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2" name="Straight Connector 76"/>
              <p:cNvSpPr/>
              <p:nvPr/>
            </p:nvSpPr>
            <p:spPr>
              <a:xfrm flipH="1">
                <a:off x="0" y="7924800"/>
                <a:ext cx="243841" cy="0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3" name="Straight Connector 77"/>
              <p:cNvSpPr/>
              <p:nvPr/>
            </p:nvSpPr>
            <p:spPr>
              <a:xfrm flipH="1">
                <a:off x="0" y="963168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4" name="Straight Connector 78"/>
              <p:cNvSpPr/>
              <p:nvPr/>
            </p:nvSpPr>
            <p:spPr>
              <a:xfrm flipH="1">
                <a:off x="0" y="1135075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5" name="Straight Connector 79"/>
              <p:cNvSpPr/>
              <p:nvPr/>
            </p:nvSpPr>
            <p:spPr>
              <a:xfrm flipH="1" flipV="1">
                <a:off x="0" y="-1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6" name="Straight Connector 80"/>
              <p:cNvSpPr/>
              <p:nvPr/>
            </p:nvSpPr>
            <p:spPr>
              <a:xfrm flipH="1">
                <a:off x="0" y="12438549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  <p:grpSp>
          <p:nvGrpSpPr>
            <p:cNvPr id="527" name="Group 62"/>
            <p:cNvGrpSpPr/>
            <p:nvPr/>
          </p:nvGrpSpPr>
          <p:grpSpPr>
            <a:xfrm>
              <a:off x="24727414" y="926930"/>
              <a:ext cx="243841" cy="12435842"/>
              <a:chOff x="0" y="0"/>
              <a:chExt cx="243840" cy="12435840"/>
            </a:xfrm>
          </p:grpSpPr>
          <p:sp>
            <p:nvSpPr>
              <p:cNvPr id="518" name="Straight Connector 63"/>
              <p:cNvSpPr/>
              <p:nvPr/>
            </p:nvSpPr>
            <p:spPr>
              <a:xfrm flipH="1">
                <a:off x="0" y="110947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9" name="Straight Connector 64"/>
              <p:cNvSpPr/>
              <p:nvPr/>
            </p:nvSpPr>
            <p:spPr>
              <a:xfrm flipH="1">
                <a:off x="0" y="280416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0" name="Straight Connector 65"/>
              <p:cNvSpPr/>
              <p:nvPr/>
            </p:nvSpPr>
            <p:spPr>
              <a:xfrm flipH="1">
                <a:off x="0" y="451104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1" name="Straight Connector 66"/>
              <p:cNvSpPr/>
              <p:nvPr/>
            </p:nvSpPr>
            <p:spPr>
              <a:xfrm flipH="1">
                <a:off x="0" y="621792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2" name="Straight Connector 67"/>
              <p:cNvSpPr/>
              <p:nvPr/>
            </p:nvSpPr>
            <p:spPr>
              <a:xfrm flipH="1">
                <a:off x="0" y="7924800"/>
                <a:ext cx="243841" cy="0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3" name="Straight Connector 68"/>
              <p:cNvSpPr/>
              <p:nvPr/>
            </p:nvSpPr>
            <p:spPr>
              <a:xfrm flipH="1">
                <a:off x="0" y="963168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4" name="Straight Connector 69"/>
              <p:cNvSpPr/>
              <p:nvPr/>
            </p:nvSpPr>
            <p:spPr>
              <a:xfrm flipH="1">
                <a:off x="0" y="1135075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5" name="Straight Connector 70"/>
              <p:cNvSpPr/>
              <p:nvPr/>
            </p:nvSpPr>
            <p:spPr>
              <a:xfrm flipH="1" flipV="1">
                <a:off x="0" y="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6" name="Straight Connector 71"/>
              <p:cNvSpPr/>
              <p:nvPr/>
            </p:nvSpPr>
            <p:spPr>
              <a:xfrm flipH="1">
                <a:off x="0" y="1243584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</p:grpSp>
      <p:sp>
        <p:nvSpPr>
          <p:cNvPr id="530" name="Cool gray 10 rectangle"/>
          <p:cNvSpPr/>
          <p:nvPr userDrawn="1"/>
        </p:nvSpPr>
        <p:spPr>
          <a:xfrm>
            <a:off x="6096000" y="26244"/>
            <a:ext cx="6096000" cy="6858001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8000" tIns="48000" rIns="48000" bIns="48000" anchor="ctr"/>
          <a:lstStyle/>
          <a:p>
            <a:pPr defTabSz="914644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/>
          </a:p>
        </p:txBody>
      </p:sp>
      <p:grpSp>
        <p:nvGrpSpPr>
          <p:cNvPr id="573" name="Group"/>
          <p:cNvGrpSpPr/>
          <p:nvPr/>
        </p:nvGrpSpPr>
        <p:grpSpPr>
          <a:xfrm>
            <a:off x="-146307" y="-146474"/>
            <a:ext cx="12485628" cy="7152641"/>
            <a:chOff x="0" y="0"/>
            <a:chExt cx="24971254" cy="14305280"/>
          </a:xfrm>
        </p:grpSpPr>
        <p:sp>
          <p:nvSpPr>
            <p:cNvPr id="533" name="Straight Connector 92"/>
            <p:cNvSpPr/>
            <p:nvPr/>
          </p:nvSpPr>
          <p:spPr>
            <a:xfrm flipV="1">
              <a:off x="90390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4" name="Straight Connector 93"/>
            <p:cNvSpPr/>
            <p:nvPr/>
          </p:nvSpPr>
          <p:spPr>
            <a:xfrm flipV="1">
              <a:off x="578070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5" name="Straight Connector 94"/>
            <p:cNvSpPr/>
            <p:nvPr/>
          </p:nvSpPr>
          <p:spPr>
            <a:xfrm flipV="1">
              <a:off x="639030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6" name="Straight Connector 95"/>
            <p:cNvSpPr/>
            <p:nvPr/>
          </p:nvSpPr>
          <p:spPr>
            <a:xfrm flipV="1">
              <a:off x="69999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7" name="Straight Connector 96"/>
            <p:cNvSpPr/>
            <p:nvPr/>
          </p:nvSpPr>
          <p:spPr>
            <a:xfrm flipV="1">
              <a:off x="118767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8" name="Straight Connector 97"/>
            <p:cNvSpPr/>
            <p:nvPr/>
          </p:nvSpPr>
          <p:spPr>
            <a:xfrm flipV="1">
              <a:off x="124863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9" name="Straight Connector 98"/>
            <p:cNvSpPr/>
            <p:nvPr/>
          </p:nvSpPr>
          <p:spPr>
            <a:xfrm flipV="1">
              <a:off x="130959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0" name="Straight Connector 99"/>
            <p:cNvSpPr/>
            <p:nvPr/>
          </p:nvSpPr>
          <p:spPr>
            <a:xfrm flipV="1">
              <a:off x="179727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1" name="Straight Connector 100"/>
            <p:cNvSpPr/>
            <p:nvPr/>
          </p:nvSpPr>
          <p:spPr>
            <a:xfrm flipV="1">
              <a:off x="18582309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2" name="Straight Connector 101"/>
            <p:cNvSpPr/>
            <p:nvPr/>
          </p:nvSpPr>
          <p:spPr>
            <a:xfrm flipV="1">
              <a:off x="19191909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3" name="Straight Connector 102"/>
            <p:cNvSpPr/>
            <p:nvPr/>
          </p:nvSpPr>
          <p:spPr>
            <a:xfrm flipV="1">
              <a:off x="2406852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4" name="Straight Connector 81"/>
            <p:cNvSpPr/>
            <p:nvPr/>
          </p:nvSpPr>
          <p:spPr>
            <a:xfrm flipV="1">
              <a:off x="90390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5" name="Straight Connector 82"/>
            <p:cNvSpPr/>
            <p:nvPr/>
          </p:nvSpPr>
          <p:spPr>
            <a:xfrm flipV="1">
              <a:off x="578070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6" name="Straight Connector 83"/>
            <p:cNvSpPr/>
            <p:nvPr/>
          </p:nvSpPr>
          <p:spPr>
            <a:xfrm flipV="1">
              <a:off x="639030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7" name="Straight Connector 84"/>
            <p:cNvSpPr/>
            <p:nvPr/>
          </p:nvSpPr>
          <p:spPr>
            <a:xfrm flipV="1">
              <a:off x="69999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8" name="Straight Connector 85"/>
            <p:cNvSpPr/>
            <p:nvPr/>
          </p:nvSpPr>
          <p:spPr>
            <a:xfrm flipV="1">
              <a:off x="118767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9" name="Straight Connector 86"/>
            <p:cNvSpPr/>
            <p:nvPr/>
          </p:nvSpPr>
          <p:spPr>
            <a:xfrm flipV="1">
              <a:off x="124863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0" name="Straight Connector 87"/>
            <p:cNvSpPr/>
            <p:nvPr/>
          </p:nvSpPr>
          <p:spPr>
            <a:xfrm flipV="1">
              <a:off x="130959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1" name="Straight Connector 88"/>
            <p:cNvSpPr/>
            <p:nvPr/>
          </p:nvSpPr>
          <p:spPr>
            <a:xfrm flipV="1">
              <a:off x="179727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2" name="Straight Connector 89"/>
            <p:cNvSpPr/>
            <p:nvPr/>
          </p:nvSpPr>
          <p:spPr>
            <a:xfrm flipV="1">
              <a:off x="18582309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3" name="Straight Connector 90"/>
            <p:cNvSpPr/>
            <p:nvPr/>
          </p:nvSpPr>
          <p:spPr>
            <a:xfrm flipV="1">
              <a:off x="19191909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4" name="Straight Connector 91"/>
            <p:cNvSpPr/>
            <p:nvPr/>
          </p:nvSpPr>
          <p:spPr>
            <a:xfrm flipV="1">
              <a:off x="2406852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5" name="Straight Connector 72"/>
            <p:cNvSpPr/>
            <p:nvPr/>
          </p:nvSpPr>
          <p:spPr>
            <a:xfrm flipH="1">
              <a:off x="-1" y="2036402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6" name="Straight Connector 73"/>
            <p:cNvSpPr/>
            <p:nvPr/>
          </p:nvSpPr>
          <p:spPr>
            <a:xfrm flipH="1">
              <a:off x="-1" y="3731090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7" name="Straight Connector 74"/>
            <p:cNvSpPr/>
            <p:nvPr/>
          </p:nvSpPr>
          <p:spPr>
            <a:xfrm flipH="1">
              <a:off x="-1" y="5437971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8" name="Straight Connector 75"/>
            <p:cNvSpPr/>
            <p:nvPr/>
          </p:nvSpPr>
          <p:spPr>
            <a:xfrm flipH="1">
              <a:off x="-1" y="7148920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9" name="Straight Connector 76"/>
            <p:cNvSpPr/>
            <p:nvPr/>
          </p:nvSpPr>
          <p:spPr>
            <a:xfrm flipH="1">
              <a:off x="-1" y="8851731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0" name="Straight Connector 77"/>
            <p:cNvSpPr/>
            <p:nvPr/>
          </p:nvSpPr>
          <p:spPr>
            <a:xfrm flipH="1">
              <a:off x="-1" y="10558611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1" name="Straight Connector 78"/>
            <p:cNvSpPr/>
            <p:nvPr/>
          </p:nvSpPr>
          <p:spPr>
            <a:xfrm flipH="1">
              <a:off x="-1" y="12277683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2" name="Straight Connector 79"/>
            <p:cNvSpPr/>
            <p:nvPr/>
          </p:nvSpPr>
          <p:spPr>
            <a:xfrm flipH="1">
              <a:off x="-1" y="926930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3" name="Straight Connector 80"/>
            <p:cNvSpPr/>
            <p:nvPr/>
          </p:nvSpPr>
          <p:spPr>
            <a:xfrm flipH="1">
              <a:off x="-1" y="13365478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4" name="Straight Connector 63"/>
            <p:cNvSpPr/>
            <p:nvPr/>
          </p:nvSpPr>
          <p:spPr>
            <a:xfrm flipH="1">
              <a:off x="24727414" y="2036402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5" name="Straight Connector 64"/>
            <p:cNvSpPr/>
            <p:nvPr/>
          </p:nvSpPr>
          <p:spPr>
            <a:xfrm flipH="1">
              <a:off x="24727414" y="3731090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6" name="Straight Connector 65"/>
            <p:cNvSpPr/>
            <p:nvPr/>
          </p:nvSpPr>
          <p:spPr>
            <a:xfrm flipH="1">
              <a:off x="24727414" y="543797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7" name="Straight Connector 66"/>
            <p:cNvSpPr/>
            <p:nvPr/>
          </p:nvSpPr>
          <p:spPr>
            <a:xfrm flipH="1">
              <a:off x="24727414" y="714485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8" name="Straight Connector 67"/>
            <p:cNvSpPr/>
            <p:nvPr/>
          </p:nvSpPr>
          <p:spPr>
            <a:xfrm flipH="1">
              <a:off x="24727414" y="885173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9" name="Straight Connector 68"/>
            <p:cNvSpPr/>
            <p:nvPr/>
          </p:nvSpPr>
          <p:spPr>
            <a:xfrm flipH="1">
              <a:off x="24727414" y="1055861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70" name="Straight Connector 69"/>
            <p:cNvSpPr/>
            <p:nvPr/>
          </p:nvSpPr>
          <p:spPr>
            <a:xfrm flipH="1">
              <a:off x="24727414" y="12277683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71" name="Straight Connector 70"/>
            <p:cNvSpPr/>
            <p:nvPr/>
          </p:nvSpPr>
          <p:spPr>
            <a:xfrm flipH="1">
              <a:off x="24727414" y="926930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72" name="Straight Connector 71"/>
            <p:cNvSpPr/>
            <p:nvPr/>
          </p:nvSpPr>
          <p:spPr>
            <a:xfrm flipH="1">
              <a:off x="24727414" y="13362770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</p:grp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94B9C110-3545-CD94-AA1C-557A650FEA7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401647" y="5992368"/>
            <a:ext cx="2404477" cy="711248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hape 9">
            <a:extLst>
              <a:ext uri="{FF2B5EF4-FFF2-40B4-BE49-F238E27FC236}">
                <a16:creationId xmlns:a16="http://schemas.microsoft.com/office/drawing/2014/main" id="{0D9C3D73-A209-6D03-EF26-7B69C04DD0E9}"/>
              </a:ext>
            </a:extLst>
          </p:cNvPr>
          <p:cNvSpPr txBox="1">
            <a:spLocks noGrp="1"/>
          </p:cNvSpPr>
          <p:nvPr>
            <p:ph type="ctrTitle"/>
          </p:nvPr>
        </p:nvSpPr>
        <p:spPr>
          <a:xfrm>
            <a:off x="753739" y="2769795"/>
            <a:ext cx="4798272" cy="865451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buSzPct val="100000"/>
              <a:defRPr sz="4800" b="0" i="0">
                <a:solidFill>
                  <a:schemeClr val="bg1"/>
                </a:solidFill>
                <a:latin typeface="IBM Plex Sans Medium" charset="0"/>
                <a:ea typeface="IBM Plex Sans Medium" charset="0"/>
                <a:cs typeface="IBM Plex Sans Medium" charset="0"/>
              </a:defRPr>
            </a:lvl1pPr>
            <a:lvl2pPr lvl="1">
              <a:spcBef>
                <a:spcPts val="0"/>
              </a:spcBef>
              <a:buSzPct val="100000"/>
              <a:defRPr sz="4800"/>
            </a:lvl2pPr>
            <a:lvl3pPr lvl="2">
              <a:spcBef>
                <a:spcPts val="0"/>
              </a:spcBef>
              <a:buSzPct val="100000"/>
              <a:defRPr sz="4800"/>
            </a:lvl3pPr>
            <a:lvl4pPr lvl="3">
              <a:spcBef>
                <a:spcPts val="0"/>
              </a:spcBef>
              <a:buSzPct val="100000"/>
              <a:defRPr sz="4800"/>
            </a:lvl4pPr>
            <a:lvl5pPr lvl="4">
              <a:spcBef>
                <a:spcPts val="0"/>
              </a:spcBef>
              <a:buSzPct val="100000"/>
              <a:defRPr sz="4800"/>
            </a:lvl5pPr>
            <a:lvl6pPr lvl="5">
              <a:spcBef>
                <a:spcPts val="0"/>
              </a:spcBef>
              <a:buSzPct val="100000"/>
              <a:defRPr sz="4800"/>
            </a:lvl6pPr>
            <a:lvl7pPr lvl="6">
              <a:spcBef>
                <a:spcPts val="0"/>
              </a:spcBef>
              <a:buSzPct val="100000"/>
              <a:defRPr sz="4800"/>
            </a:lvl7pPr>
            <a:lvl8pPr lvl="7">
              <a:spcBef>
                <a:spcPts val="0"/>
              </a:spcBef>
              <a:buSzPct val="100000"/>
              <a:defRPr sz="4800"/>
            </a:lvl8pPr>
            <a:lvl9pPr lvl="8">
              <a:spcBef>
                <a:spcPts val="0"/>
              </a:spcBef>
              <a:buSzPct val="100000"/>
              <a:defRPr sz="4800"/>
            </a:lvl9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4" name="Text Placeholder 24">
            <a:extLst>
              <a:ext uri="{FF2B5EF4-FFF2-40B4-BE49-F238E27FC236}">
                <a16:creationId xmlns:a16="http://schemas.microsoft.com/office/drawing/2014/main" id="{DC424CCD-042F-45E0-0F79-DA2FA12B8EC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66778" y="4391565"/>
            <a:ext cx="4785223" cy="685800"/>
          </a:xfrm>
        </p:spPr>
        <p:txBody>
          <a:bodyPr/>
          <a:lstStyle>
            <a:lvl1pPr>
              <a:buClr>
                <a:schemeClr val="bg1"/>
              </a:buClr>
              <a:buNone/>
              <a:defRPr sz="1800" b="0" i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r>
              <a:rPr lang="en-US" dirty="0"/>
              <a:t>Click to add date (month xx, </a:t>
            </a:r>
            <a:r>
              <a:rPr lang="en-US" dirty="0" err="1"/>
              <a:t>xxxx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39268107"/>
      </p:ext>
    </p:extLst>
  </p:cSld>
  <p:clrMapOvr>
    <a:masterClrMapping/>
  </p:clrMapOvr>
  <p:transition spd="med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10784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82498"/>
            <a:ext cx="5498592" cy="1746503"/>
          </a:xfrm>
        </p:spPr>
        <p:txBody>
          <a:bodyPr/>
          <a:lstStyle>
            <a:lvl1pPr>
              <a:spcBef>
                <a:spcPts val="0"/>
              </a:spcBef>
              <a:defRPr sz="1333"/>
            </a:lvl1pPr>
            <a:lvl2pPr marL="0" indent="0">
              <a:spcBef>
                <a:spcPts val="0"/>
              </a:spcBef>
              <a:buNone/>
              <a:defRPr/>
            </a:lvl2pPr>
            <a:lvl3pPr marL="268813" indent="0">
              <a:buNone/>
              <a:defRPr/>
            </a:lvl3pPr>
            <a:lvl4pPr marL="579960" indent="0">
              <a:buNone/>
              <a:defRPr/>
            </a:lvl4pPr>
            <a:lvl5pPr marL="84242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B66D531-042B-494C-8702-5C43B76E658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98211" y="4274263"/>
            <a:ext cx="8540991" cy="1746501"/>
          </a:xfrm>
        </p:spPr>
        <p:txBody>
          <a:bodyPr anchor="b"/>
          <a:lstStyle>
            <a:lvl1pPr>
              <a:spcBef>
                <a:spcPts val="400"/>
              </a:spcBef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202!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478824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solidFill>
            <a:srgbClr val="061F80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>
          <a:xfrm>
            <a:off x="6096000" y="3426885"/>
            <a:ext cx="6096000" cy="3431116"/>
          </a:xfrm>
          <a:solidFill>
            <a:srgbClr val="0530AD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202!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logo2-04.png" descr="logo2-04.png">
            <a:extLst>
              <a:ext uri="{FF2B5EF4-FFF2-40B4-BE49-F238E27FC236}">
                <a16:creationId xmlns:a16="http://schemas.microsoft.com/office/drawing/2014/main" id="{F94AF1D2-C05F-0E40-06EC-44B866ADE08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1095090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A424E05-9B4B-3CB3-8F98-766DC4C871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75AEDAAC-8BDE-F304-03DD-18A1B9D3B83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8E3F8521-8206-915F-E423-4C1A340D499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36A38F8A-3F01-11E5-8696-A1BF581F10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24/10/2025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D2055198-1ECE-9180-2B5A-0411B9E47D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D5161EC9-D617-5E29-117C-816924EDBE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755443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oxes (1 large, 4 small)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-1"/>
            <a:ext cx="12192000" cy="3425951"/>
          </a:xfrm>
          <a:noFill/>
        </p:spPr>
        <p:txBody>
          <a:bodyPr lIns="182880" tIns="164592" rIns="228600" bIns="228600"/>
          <a:lstStyle>
            <a:lvl1pPr>
              <a:defRPr sz="6400" b="0" i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1"/>
          <p:cNvSpPr>
            <a:spLocks noGrp="1"/>
          </p:cNvSpPr>
          <p:nvPr>
            <p:ph sz="quarter" idx="20"/>
          </p:nvPr>
        </p:nvSpPr>
        <p:spPr>
          <a:xfrm>
            <a:off x="0" y="3426885"/>
            <a:ext cx="3048000" cy="3431116"/>
          </a:xfrm>
          <a:solidFill>
            <a:srgbClr val="061F80"/>
          </a:solidFill>
        </p:spPr>
        <p:txBody>
          <a:bodyPr lIns="219456" tIns="201168" rIns="228600" bIns="228600"/>
          <a:lstStyle>
            <a:lvl1pPr>
              <a:defRPr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quarter" idx="19"/>
          </p:nvPr>
        </p:nvSpPr>
        <p:spPr>
          <a:xfrm>
            <a:off x="3048001" y="3426885"/>
            <a:ext cx="3048000" cy="3431116"/>
          </a:xfrm>
          <a:solidFill>
            <a:srgbClr val="054ADA"/>
          </a:solidFill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7"/>
          </p:nvPr>
        </p:nvSpPr>
        <p:spPr>
          <a:xfrm>
            <a:off x="6096000" y="3426883"/>
            <a:ext cx="3048000" cy="3431117"/>
          </a:xfrm>
          <a:solidFill>
            <a:schemeClr val="accent2"/>
          </a:solidFill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8"/>
          </p:nvPr>
        </p:nvSpPr>
        <p:spPr>
          <a:xfrm>
            <a:off x="9144000" y="3426883"/>
            <a:ext cx="3048000" cy="3431117"/>
          </a:xfrm>
          <a:solidFill>
            <a:srgbClr val="6EA6FF"/>
          </a:solidFill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Group Name / DOC ID / Month XX, 2023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227916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pic>
        <p:nvPicPr>
          <p:cNvPr id="6" name="Picture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91751" y="6256739"/>
            <a:ext cx="695452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112968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193285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668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3"/>
            <a:ext cx="5498592" cy="4336288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268544" indent="0">
              <a:buNone/>
              <a:defRPr/>
            </a:lvl3pPr>
            <a:lvl4pPr marL="579380" indent="0">
              <a:buNone/>
              <a:defRPr/>
            </a:lvl4pPr>
            <a:lvl5pPr marL="84158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1"/>
            <a:r>
              <a:rPr lang="en-US" dirty="0"/>
              <a:t>Third level</a:t>
            </a:r>
          </a:p>
          <a:p>
            <a:pPr lvl="1"/>
            <a:r>
              <a:rPr lang="en-US" dirty="0"/>
              <a:t>Fourth level</a:t>
            </a:r>
          </a:p>
          <a:p>
            <a:pPr lvl="1"/>
            <a:r>
              <a:rPr lang="en-US" dirty="0"/>
              <a:t>Fifth level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388608" y="1658113"/>
            <a:ext cx="5498592" cy="4336288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268544" indent="0">
              <a:buNone/>
              <a:defRPr/>
            </a:lvl3pPr>
            <a:lvl4pPr marL="579380" indent="0">
              <a:buNone/>
              <a:defRPr/>
            </a:lvl4pPr>
            <a:lvl5pPr marL="84158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  <a:p>
            <a:pPr lvl="1"/>
            <a:r>
              <a:rPr lang="en-US" dirty="0"/>
              <a:t>Third level</a:t>
            </a:r>
          </a:p>
          <a:p>
            <a:pPr lvl="1"/>
            <a:r>
              <a:rPr lang="en-US" dirty="0"/>
              <a:t>Fourth level</a:t>
            </a:r>
          </a:p>
          <a:p>
            <a:pPr lvl="1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12457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92608" y="292608"/>
            <a:ext cx="5510784" cy="1072896"/>
          </a:xfrm>
        </p:spPr>
        <p:txBody>
          <a:bodyPr/>
          <a:lstStyle>
            <a:lvl1pPr>
              <a:defRPr sz="213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90000"/>
              </a:lnSpc>
              <a:defRPr sz="12786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291868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92608" y="292608"/>
            <a:ext cx="5510784" cy="1072896"/>
          </a:xfrm>
        </p:spPr>
        <p:txBody>
          <a:bodyPr/>
          <a:lstStyle>
            <a:lvl1pPr>
              <a:defRPr sz="213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90000"/>
              </a:lnSpc>
              <a:defRPr sz="12786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>
            <a:lvl1pPr>
              <a:defRPr baseline="0"/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087491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182883" y="121920"/>
            <a:ext cx="11704229" cy="5872480"/>
          </a:xfrm>
        </p:spPr>
        <p:txBody>
          <a:bodyPr/>
          <a:lstStyle>
            <a:lvl1pPr>
              <a:defRPr sz="12786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193351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20" y="268225"/>
            <a:ext cx="7416713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062958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5"/>
            <a:ext cx="5522976" cy="5726176"/>
          </a:xfrm>
        </p:spPr>
        <p:txBody>
          <a:bodyPr/>
          <a:lstStyle/>
          <a:p>
            <a:r>
              <a:rPr lang="en-US"/>
              <a:t>Click </a:t>
            </a:r>
            <a:r>
              <a:rPr lang="en-US" dirty="0"/>
              <a:t>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268225"/>
            <a:ext cx="5498592" cy="5726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657346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3"/>
            <a:ext cx="5498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388611" y="1658113"/>
            <a:ext cx="5498501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48924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0E56784-8AF0-8702-828E-E6D86BAD1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7F32CAF8-09D2-B984-6C26-FF18C974D51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6C23CF5E-64F5-0162-9F6F-61F3F4432ED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22B90CBD-667F-6829-3447-8C2CA4D94E9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2032084F-A782-454E-5CEE-16F38F05303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2AC5406B-76ED-B1E5-7B74-CE5F711F8F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24/10/2025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330EA2D7-4829-B682-5C95-F2550E2FF0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9B710E83-E9E8-AB5C-3BFB-AF0F7AF11B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5554975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280416" y="1621536"/>
            <a:ext cx="5522976" cy="4372864"/>
          </a:xfrm>
        </p:spPr>
        <p:txBody>
          <a:bodyPr/>
          <a:lstStyle>
            <a:lvl1pPr>
              <a:defRPr sz="3197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1658113"/>
            <a:ext cx="5498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029652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92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340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388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9436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142590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3"/>
            <a:ext cx="5498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130214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5"/>
            <a:ext cx="5522976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6388608" y="268225"/>
            <a:ext cx="2450592" cy="5726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9436608" y="268225"/>
            <a:ext cx="2450592" cy="5726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915841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split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9" y="268225"/>
            <a:ext cx="5522885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Black rectangle">
            <a:extLst>
              <a:ext uri="{FF2B5EF4-FFF2-40B4-BE49-F238E27FC236}">
                <a16:creationId xmlns:a16="http://schemas.microsoft.com/office/drawing/2014/main" id="{612CE115-19C6-174D-97D1-85AD78D8BE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599" b="0" i="0" dirty="0">
              <a:solidFill>
                <a:srgbClr val="FFFFFF"/>
              </a:solidFill>
              <a:latin typeface="IBM Plex Sans" panose="020B0503050203000203" pitchFamily="34" charset="0"/>
              <a:cs typeface="Arial"/>
            </a:endParaRP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268225"/>
            <a:ext cx="5498592" cy="5726176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logo2-04.png" descr="logo2-04.png">
            <a:extLst>
              <a:ext uri="{FF2B5EF4-FFF2-40B4-BE49-F238E27FC236}">
                <a16:creationId xmlns:a16="http://schemas.microsoft.com/office/drawing/2014/main" id="{9371FA57-1C35-0825-74D9-10C706C45D3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78572979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5"/>
            <a:ext cx="5522976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169710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5"/>
            <a:ext cx="5522976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38401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766069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3"/>
            <a:ext cx="5498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solidFill>
            <a:srgbClr val="061F80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>
          <a:xfrm>
            <a:off x="6096000" y="3426886"/>
            <a:ext cx="6096000" cy="3431116"/>
          </a:xfrm>
          <a:solidFill>
            <a:srgbClr val="0530AD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logo2-04.png" descr="logo2-04.png">
            <a:extLst>
              <a:ext uri="{FF2B5EF4-FFF2-40B4-BE49-F238E27FC236}">
                <a16:creationId xmlns:a16="http://schemas.microsoft.com/office/drawing/2014/main" id="{F52C5ABE-6F74-7D2F-E9BE-984771008F0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37574340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-2"/>
            <a:ext cx="6096000" cy="3429003"/>
          </a:xfrm>
          <a:solidFill>
            <a:srgbClr val="0530AD"/>
          </a:solidFill>
        </p:spPr>
        <p:txBody>
          <a:bodyPr lIns="420624" tIns="411480" rIns="420624" bIns="420624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solidFill>
            <a:srgbClr val="061F80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20"/>
          </p:nvPr>
        </p:nvSpPr>
        <p:spPr>
          <a:xfrm>
            <a:off x="0" y="3426886"/>
            <a:ext cx="6096000" cy="3431116"/>
          </a:xfrm>
          <a:solidFill>
            <a:schemeClr val="tx1"/>
          </a:solidFill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ontent Placeholder 4"/>
          <p:cNvSpPr>
            <a:spLocks noGrp="1"/>
          </p:cNvSpPr>
          <p:nvPr>
            <p:ph sz="quarter" idx="19"/>
          </p:nvPr>
        </p:nvSpPr>
        <p:spPr>
          <a:xfrm>
            <a:off x="6096000" y="3426886"/>
            <a:ext cx="6096000" cy="3431116"/>
          </a:xfrm>
          <a:solidFill>
            <a:srgbClr val="0530AD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logo2-04.png" descr="logo2-04.png">
            <a:extLst>
              <a:ext uri="{FF2B5EF4-FFF2-40B4-BE49-F238E27FC236}">
                <a16:creationId xmlns:a16="http://schemas.microsoft.com/office/drawing/2014/main" id="{D7E182F6-853C-0B50-0EB1-9FA63DCC06B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9094176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C48DB33-A43A-D551-954D-E80C97F3BC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6FC366D8-04AD-39BB-9F9D-534EBFA6AD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24/10/2025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CB1EEB01-1AEF-9AFC-5EB0-701D97AFF1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4782AEAB-4D2F-2B42-6327-2399256B82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0949511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1"/>
            <a:ext cx="12192000" cy="3425951"/>
          </a:xfrm>
          <a:noFill/>
        </p:spPr>
        <p:txBody>
          <a:bodyPr lIns="384048" tIns="310896" rIns="384048" bIns="228600"/>
          <a:lstStyle>
            <a:lvl1pPr>
              <a:defRPr sz="6395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Content Placeholder 1"/>
          <p:cNvSpPr>
            <a:spLocks noGrp="1"/>
          </p:cNvSpPr>
          <p:nvPr>
            <p:ph sz="quarter" idx="20"/>
          </p:nvPr>
        </p:nvSpPr>
        <p:spPr>
          <a:xfrm>
            <a:off x="0" y="3426886"/>
            <a:ext cx="3048000" cy="3431116"/>
          </a:xfrm>
          <a:solidFill>
            <a:srgbClr val="061F80"/>
          </a:solidFill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quarter" idx="19"/>
          </p:nvPr>
        </p:nvSpPr>
        <p:spPr>
          <a:xfrm>
            <a:off x="3048001" y="3426886"/>
            <a:ext cx="3048000" cy="3431116"/>
          </a:xfrm>
          <a:solidFill>
            <a:srgbClr val="054ADA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6096000" y="3426883"/>
            <a:ext cx="3048000" cy="3431117"/>
          </a:xfrm>
          <a:solidFill>
            <a:schemeClr val="accent2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4"/>
          <p:cNvSpPr>
            <a:spLocks noGrp="1"/>
          </p:cNvSpPr>
          <p:nvPr>
            <p:ph sz="quarter" idx="18"/>
          </p:nvPr>
        </p:nvSpPr>
        <p:spPr>
          <a:xfrm>
            <a:off x="9144000" y="3426883"/>
            <a:ext cx="3048000" cy="3431117"/>
          </a:xfrm>
          <a:solidFill>
            <a:srgbClr val="6EA6FF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logo2-04.png" descr="logo2-04.png">
            <a:extLst>
              <a:ext uri="{FF2B5EF4-FFF2-40B4-BE49-F238E27FC236}">
                <a16:creationId xmlns:a16="http://schemas.microsoft.com/office/drawing/2014/main" id="{143A6CD3-E01C-F7D2-5D47-0BF4D2F1A53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95803133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701800"/>
          </a:xfrm>
          <a:solidFill>
            <a:schemeClr val="tx2"/>
          </a:solidFill>
        </p:spPr>
        <p:txBody>
          <a:bodyPr lIns="420624" tIns="411480" rIns="420624" bIns="420624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0" y="1701800"/>
            <a:ext cx="12192000" cy="51562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545321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64096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-2" y="3429000"/>
            <a:ext cx="3048004" cy="3429000"/>
          </a:xfrm>
          <a:solidFill>
            <a:schemeClr val="tx2"/>
          </a:solidFill>
        </p:spPr>
        <p:txBody>
          <a:bodyPr lIns="457200" tIns="384048" rIns="457200" bIns="228600"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 sz="1332"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 sz="1332"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 sz="1332"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 sz="1332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098977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/>
          <p:cNvSpPr>
            <a:spLocks noGrp="1"/>
          </p:cNvSpPr>
          <p:nvPr>
            <p:ph sz="quarter" idx="12"/>
          </p:nvPr>
        </p:nvSpPr>
        <p:spPr>
          <a:xfrm>
            <a:off x="0" y="0"/>
            <a:ext cx="3048000" cy="6864096"/>
          </a:xfrm>
          <a:solidFill>
            <a:schemeClr val="accent2"/>
          </a:solidFill>
        </p:spPr>
        <p:txBody>
          <a:bodyPr lIns="457200" tIns="384048" rIns="457200" bIns="22860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quarter" idx="13"/>
          </p:nvPr>
        </p:nvSpPr>
        <p:spPr>
          <a:xfrm>
            <a:off x="3048000" y="0"/>
            <a:ext cx="3048000" cy="6864096"/>
          </a:xfrm>
          <a:solidFill>
            <a:srgbClr val="054ADA"/>
          </a:solidFill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quarter" idx="14"/>
          </p:nvPr>
        </p:nvSpPr>
        <p:spPr>
          <a:xfrm>
            <a:off x="6096000" y="0"/>
            <a:ext cx="3048000" cy="6864096"/>
          </a:xfrm>
          <a:solidFill>
            <a:srgbClr val="0530AD"/>
          </a:solidFill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4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6864096"/>
          </a:xfrm>
          <a:solidFill>
            <a:srgbClr val="061F80"/>
          </a:solidFill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41F2CE3C-A6C6-0A0F-5E97-EA9E92F241D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78839563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3352800" y="1658113"/>
            <a:ext cx="8534400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108267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856374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1: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340608" y="1658113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57304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92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340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364224" y="1621536"/>
            <a:ext cx="5522976" cy="4372864"/>
          </a:xfrm>
        </p:spPr>
        <p:txBody>
          <a:bodyPr/>
          <a:lstStyle>
            <a:lvl1pPr>
              <a:defRPr sz="319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208915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268225"/>
            <a:ext cx="2450592" cy="5726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able Placeholder"/>
          <p:cNvSpPr>
            <a:spLocks noGrp="1"/>
          </p:cNvSpPr>
          <p:nvPr>
            <p:ph type="tbl" sz="quarter" idx="13"/>
          </p:nvPr>
        </p:nvSpPr>
        <p:spPr>
          <a:xfrm>
            <a:off x="3340609" y="268225"/>
            <a:ext cx="8546501" cy="5726176"/>
          </a:xfrm>
        </p:spPr>
        <p:txBody>
          <a:bodyPr lIns="0" tIns="0" rIns="91440" bIns="91440"/>
          <a:lstStyle/>
          <a:p>
            <a:r>
              <a:rPr lang="en-US" dirty="0"/>
              <a:t>Click icon to add tab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648826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79767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639CD95C-68FA-4C01-B219-9D88AD58E0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24/10/2025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A3D736AC-D775-D67E-26D2-56210DF644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54FE093D-624F-E034-BB62-A14D0331CA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3790900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2446221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82496"/>
            <a:ext cx="5498592" cy="1746504"/>
          </a:xfrm>
        </p:spPr>
        <p:txBody>
          <a:bodyPr/>
          <a:lstStyle>
            <a:lvl1pPr>
              <a:spcBef>
                <a:spcPts val="0"/>
              </a:spcBef>
              <a:defRPr sz="1332"/>
            </a:lvl1pPr>
            <a:lvl2pPr marL="0" indent="0">
              <a:spcBef>
                <a:spcPts val="0"/>
              </a:spcBef>
              <a:buNone/>
              <a:defRPr/>
            </a:lvl2pPr>
            <a:lvl3pPr marL="268544" indent="0">
              <a:buNone/>
              <a:defRPr/>
            </a:lvl3pPr>
            <a:lvl4pPr marL="579380" indent="0">
              <a:buNone/>
              <a:defRPr/>
            </a:lvl4pPr>
            <a:lvl5pPr marL="84158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1C6F2CA-B8B6-BF4F-8900-E2319DA9DD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92608" y="4279392"/>
            <a:ext cx="8546592" cy="1743456"/>
          </a:xfrm>
        </p:spPr>
        <p:txBody>
          <a:bodyPr anchor="b"/>
          <a:lstStyle>
            <a:lvl1pPr>
              <a:spcBef>
                <a:spcPts val="400"/>
              </a:spcBef>
              <a:defRPr sz="799"/>
            </a:lvl1pPr>
            <a:lvl2pPr>
              <a:defRPr sz="799"/>
            </a:lvl2pPr>
            <a:lvl3pPr>
              <a:defRPr sz="799"/>
            </a:lvl3pPr>
            <a:lvl4pPr>
              <a:defRPr sz="799"/>
            </a:lvl4pPr>
            <a:lvl5pPr>
              <a:defRPr sz="799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46824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 descr="IBM 8-bar logo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230928" y="3083848"/>
            <a:ext cx="1730144" cy="690309"/>
          </a:xfrm>
          <a:prstGeom prst="rect">
            <a:avLst/>
          </a:prstGeom>
        </p:spPr>
      </p:pic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072307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5991669"/>
          </a:xfrm>
        </p:spPr>
        <p:txBody>
          <a:bodyPr/>
          <a:lstStyle>
            <a:lvl1pPr>
              <a:lnSpc>
                <a:spcPct val="90000"/>
              </a:lnSpc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563776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409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4986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/>
            </a:lvl1pPr>
            <a:lvl2pPr marL="230712" indent="-230712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Edit Master text styles</a:t>
            </a:r>
          </a:p>
          <a:p>
            <a:pPr marL="0" marR="0" lvl="1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Second level</a:t>
            </a:r>
          </a:p>
          <a:p>
            <a:pPr marL="0" marR="0" lvl="2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Third level</a:t>
            </a:r>
          </a:p>
          <a:p>
            <a:pPr marL="0" marR="0" lvl="3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Fourth level</a:t>
            </a:r>
          </a:p>
          <a:p>
            <a:pPr marL="0" marR="0" lvl="4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400800" y="14986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Edit Master text styles</a:t>
            </a:r>
          </a:p>
          <a:p>
            <a:pPr marL="0" marR="0" lvl="1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Second level</a:t>
            </a:r>
          </a:p>
          <a:p>
            <a:pPr marL="0" marR="0" lvl="2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Third level</a:t>
            </a:r>
          </a:p>
          <a:p>
            <a:pPr marL="0" marR="0" lvl="3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Fourth level</a:t>
            </a:r>
          </a:p>
          <a:p>
            <a:pPr marL="0" marR="0" lvl="4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370934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80417"/>
            <a:ext cx="5486400" cy="1338409"/>
          </a:xfrm>
        </p:spPr>
        <p:txBody>
          <a:bodyPr/>
          <a:lstStyle>
            <a:lvl1pPr>
              <a:defRPr sz="2133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192501" y="1354244"/>
            <a:ext cx="5486400" cy="414528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2800" b="1" baseline="0">
                <a:solidFill>
                  <a:schemeClr val="bg2"/>
                </a:solidFill>
                <a:latin typeface="+mj-lt"/>
                <a:ea typeface="IBM Plex Mono" charset="0"/>
                <a:cs typeface="IBM Plex Mono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427061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80417"/>
            <a:ext cx="5486400" cy="1338409"/>
          </a:xfrm>
        </p:spPr>
        <p:txBody>
          <a:bodyPr/>
          <a:lstStyle>
            <a:lvl1pPr>
              <a:defRPr sz="2133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192501" y="1354244"/>
            <a:ext cx="5486400" cy="414528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2800" b="1" baseline="0">
                <a:solidFill>
                  <a:schemeClr val="bg2"/>
                </a:solidFill>
                <a:latin typeface="+mj-lt"/>
                <a:ea typeface="IBM Plex Mono" charset="0"/>
                <a:cs typeface="IBM Plex Mono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20949567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8544" y="112935"/>
            <a:ext cx="11582400" cy="5964767"/>
          </a:xfrm>
        </p:spPr>
        <p:txBody>
          <a:bodyPr/>
          <a:lstStyle>
            <a:lvl1pPr>
              <a:lnSpc>
                <a:spcPct val="90000"/>
              </a:lnSpc>
              <a:defRPr sz="12800" b="1" i="0">
                <a:latin typeface="+mj-lt"/>
                <a:ea typeface="IBM Plex Mono" charset="0"/>
                <a:cs typeface="IBM Plex Mono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432292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6916616" cy="6027740"/>
          </a:xfrm>
        </p:spPr>
        <p:txBody>
          <a:bodyPr/>
          <a:lstStyle>
            <a:lvl1pPr marL="156629" indent="-156629">
              <a:tabLst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408916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5486400" cy="577073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658368"/>
            <a:ext cx="5486400" cy="5599640"/>
          </a:xfrm>
        </p:spPr>
        <p:txBody>
          <a:bodyPr/>
          <a:lstStyle>
            <a:lvl1pPr>
              <a:spcBef>
                <a:spcPts val="1467"/>
              </a:spcBef>
              <a:spcAft>
                <a:spcPts val="0"/>
              </a:spcAft>
              <a:defRPr/>
            </a:lvl1pPr>
            <a:lvl2pPr>
              <a:spcBef>
                <a:spcPts val="1467"/>
              </a:spcBef>
              <a:defRPr/>
            </a:lvl2pPr>
            <a:lvl3pPr>
              <a:spcBef>
                <a:spcPts val="1467"/>
              </a:spcBef>
              <a:defRPr/>
            </a:lvl3pPr>
            <a:lvl4pPr>
              <a:spcBef>
                <a:spcPts val="1467"/>
              </a:spcBef>
              <a:defRPr/>
            </a:lvl4pPr>
            <a:lvl5pPr>
              <a:spcBef>
                <a:spcPts val="1467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7418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169950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403F078-1C78-FAEB-4861-B483D91D34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C06117C3-E91A-571C-B08A-39657AAE0A2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8A753E74-2437-9EFC-0E7B-2A93C57F49B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E86D8BE4-32EF-0598-A30C-8AAE38B27D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24/10/2025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89D5E26F-F1F3-1B02-47BD-36519E00BA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22BB9DD9-2812-CDF3-3CDF-9239278147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867651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2791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04800" y="1499617"/>
            <a:ext cx="5486400" cy="4781127"/>
          </a:xfrm>
        </p:spPr>
        <p:txBody>
          <a:bodyPr/>
          <a:lstStyle>
            <a:lvl1pPr>
              <a:spcBef>
                <a:spcPts val="0"/>
              </a:spcBef>
              <a:defRPr sz="1867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400800" y="1499617"/>
            <a:ext cx="5486400" cy="4781127"/>
          </a:xfrm>
        </p:spPr>
        <p:txBody>
          <a:bodyPr/>
          <a:lstStyle>
            <a:lvl1pPr>
              <a:spcBef>
                <a:spcPts val="0"/>
              </a:spcBef>
              <a:defRPr sz="1867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8841091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8534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57960"/>
            <a:ext cx="5486400" cy="4786208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57961"/>
            <a:ext cx="5486400" cy="4786207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508139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6695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3FD999D4-B456-9943-89B7-30D56181CE1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304800" y="1327358"/>
            <a:ext cx="5486400" cy="4916809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6400800" y="1488865"/>
            <a:ext cx="5486400" cy="4755303"/>
          </a:xfrm>
        </p:spPr>
        <p:txBody>
          <a:bodyPr/>
          <a:lstStyle>
            <a:lvl1pPr>
              <a:defRPr sz="1867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568245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8534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57959"/>
            <a:ext cx="2438400" cy="4786207"/>
          </a:xfrm>
        </p:spPr>
        <p:txBody>
          <a:bodyPr/>
          <a:lstStyle>
            <a:lvl1pPr>
              <a:spcBef>
                <a:spcPts val="1467"/>
              </a:spcBef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352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9448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724607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5486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40"/>
            <a:ext cx="5486400" cy="4781127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653068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39"/>
            <a:ext cx="2438400" cy="4781127"/>
          </a:xfrm>
        </p:spPr>
        <p:txBody>
          <a:bodyPr/>
          <a:lstStyle>
            <a:lvl1pPr>
              <a:spcBef>
                <a:spcPts val="1467"/>
              </a:spcBef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352800" y="1463039"/>
            <a:ext cx="2438400" cy="478112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679883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377696"/>
            <a:ext cx="5486400" cy="47548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9448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933302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dark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60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377696"/>
            <a:ext cx="5486400" cy="47548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99617"/>
            <a:ext cx="5486400" cy="4668593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0" indent="0">
              <a:spcBef>
                <a:spcPts val="1467"/>
              </a:spcBef>
              <a:buFontTx/>
              <a:buNone/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7" name="logo2-04.png" descr="logo2-04.png">
            <a:extLst>
              <a:ext uri="{FF2B5EF4-FFF2-40B4-BE49-F238E27FC236}">
                <a16:creationId xmlns:a16="http://schemas.microsoft.com/office/drawing/2014/main" id="{569DBBD2-81AB-BC8D-5FCE-FCC799BE580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176713375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8705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3690200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8705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84158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F5C0006-A07B-B935-BB4B-71AF11821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62E7D73C-2AD2-4D9A-0D6C-BC60D73AD95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A9DFD574-B0D6-3217-6796-CDEEEBA251F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C470C9A8-D9FF-4558-DA32-8D85E3CB6F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24/10/2025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C6C67A6E-CEFC-13CB-8362-DB31CEFE3B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63818F22-EF87-D014-4C93-9C39B7CCDB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72541206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508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639553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1" y="3429000"/>
            <a:ext cx="6096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43841"/>
            <a:ext cx="5486400" cy="400049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41"/>
            <a:ext cx="5486400" cy="4651641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342900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E6E72EB9-D363-2D5F-7795-D9168B3B812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868993792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1" y="3429000"/>
            <a:ext cx="6096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0"/>
            <a:ext cx="3048000" cy="34290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3429001"/>
            <a:ext cx="6096000" cy="2815167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6095999" cy="3429001"/>
          </a:xfrm>
          <a:solidFill>
            <a:schemeClr val="accent2"/>
          </a:solidFill>
        </p:spPr>
        <p:txBody>
          <a:bodyPr lIns="228600" tIns="201168" rIns="228600" bIns="228600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72C5EC34-5D8A-9CC9-053E-A37FE0772A6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406618245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3997" y="3429000"/>
            <a:ext cx="3048000" cy="3429000"/>
          </a:xfrm>
          <a:solidFill>
            <a:schemeClr val="accent4">
              <a:lumMod val="60000"/>
              <a:lumOff val="40000"/>
            </a:schemeClr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3048000" y="3429000"/>
            <a:ext cx="3048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2" y="3429000"/>
            <a:ext cx="3047996" cy="3429000"/>
          </a:xfrm>
          <a:solidFill>
            <a:schemeClr val="accent4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3429000"/>
            <a:ext cx="3048000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12191999" cy="3429001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 sz="6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81BA9788-F15F-FBE9-E68A-A1351991C9F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502818190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12191999" cy="1720852"/>
          </a:xfrm>
          <a:solidFill>
            <a:schemeClr val="tx1"/>
          </a:solidFill>
        </p:spPr>
        <p:txBody>
          <a:bodyPr lIns="228600" tIns="201168" rIns="228600" bIns="228600"/>
          <a:lstStyle>
            <a:lvl1pPr>
              <a:defRPr sz="32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0205556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3810000"/>
            <a:ext cx="3048000" cy="3048000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>
                <a:solidFill>
                  <a:schemeClr val="bg2"/>
                </a:solidFill>
              </a:defRPr>
            </a:lvl1pPr>
            <a:lvl2pPr>
              <a:defRPr sz="1333">
                <a:solidFill>
                  <a:schemeClr val="bg2"/>
                </a:solidFill>
              </a:defRPr>
            </a:lvl2pPr>
            <a:lvl3pPr>
              <a:defRPr sz="1333">
                <a:solidFill>
                  <a:schemeClr val="bg2"/>
                </a:solidFill>
              </a:defRPr>
            </a:lvl3pPr>
            <a:lvl4pPr>
              <a:defRPr sz="1333">
                <a:solidFill>
                  <a:schemeClr val="bg2"/>
                </a:solidFill>
              </a:defRPr>
            </a:lvl4pPr>
            <a:lvl5pPr>
              <a:defRPr sz="1333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743612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-1"/>
            <a:ext cx="3048000" cy="68580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2133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0"/>
          </p:nvPr>
        </p:nvSpPr>
        <p:spPr>
          <a:xfrm>
            <a:off x="3048000" y="0"/>
            <a:ext cx="3048000" cy="6858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1"/>
          </p:nvPr>
        </p:nvSpPr>
        <p:spPr>
          <a:xfrm>
            <a:off x="6096000" y="0"/>
            <a:ext cx="3048000" cy="6858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22"/>
          </p:nvPr>
        </p:nvSpPr>
        <p:spPr>
          <a:xfrm>
            <a:off x="9144000" y="0"/>
            <a:ext cx="3048000" cy="6858000"/>
          </a:xfrm>
          <a:solidFill>
            <a:schemeClr val="accent4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DB4DB5C7-7708-D859-F904-1A40E778B0A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577476213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5340934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88651"/>
            <a:ext cx="2438400" cy="4605867"/>
          </a:xfrm>
        </p:spPr>
        <p:txBody>
          <a:bodyPr/>
          <a:lstStyle>
            <a:lvl1pPr>
              <a:defRPr sz="18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352800" y="889000"/>
            <a:ext cx="8534400" cy="509905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083205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88651"/>
            <a:ext cx="2438400" cy="4605867"/>
          </a:xfrm>
        </p:spPr>
        <p:txBody>
          <a:bodyPr/>
          <a:lstStyle>
            <a:lvl1pPr>
              <a:defRPr sz="18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35511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26" Type="http://schemas.openxmlformats.org/officeDocument/2006/relationships/slideLayout" Target="../slideLayouts/slideLayout38.xml"/><Relationship Id="rId3" Type="http://schemas.openxmlformats.org/officeDocument/2006/relationships/slideLayout" Target="../slideLayouts/slideLayout15.xml"/><Relationship Id="rId21" Type="http://schemas.openxmlformats.org/officeDocument/2006/relationships/slideLayout" Target="../slideLayouts/slideLayout33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5" Type="http://schemas.openxmlformats.org/officeDocument/2006/relationships/slideLayout" Target="../slideLayouts/slideLayout37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0" Type="http://schemas.openxmlformats.org/officeDocument/2006/relationships/slideLayout" Target="../slideLayouts/slideLayout32.xml"/><Relationship Id="rId29" Type="http://schemas.openxmlformats.org/officeDocument/2006/relationships/theme" Target="../theme/theme2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36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23" Type="http://schemas.openxmlformats.org/officeDocument/2006/relationships/slideLayout" Target="../slideLayouts/slideLayout35.xml"/><Relationship Id="rId28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22.xml"/><Relationship Id="rId19" Type="http://schemas.openxmlformats.org/officeDocument/2006/relationships/slideLayout" Target="../slideLayouts/slideLayout31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slideLayout" Target="../slideLayouts/slideLayout34.xml"/><Relationship Id="rId27" Type="http://schemas.openxmlformats.org/officeDocument/2006/relationships/slideLayout" Target="../slideLayouts/slideLayout39.xml"/><Relationship Id="rId30" Type="http://schemas.openxmlformats.org/officeDocument/2006/relationships/image" Target="../media/image1.png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3.xml"/><Relationship Id="rId18" Type="http://schemas.openxmlformats.org/officeDocument/2006/relationships/slideLayout" Target="../slideLayouts/slideLayout58.xml"/><Relationship Id="rId26" Type="http://schemas.openxmlformats.org/officeDocument/2006/relationships/slideLayout" Target="../slideLayouts/slideLayout66.xml"/><Relationship Id="rId3" Type="http://schemas.openxmlformats.org/officeDocument/2006/relationships/slideLayout" Target="../slideLayouts/slideLayout43.xml"/><Relationship Id="rId21" Type="http://schemas.openxmlformats.org/officeDocument/2006/relationships/slideLayout" Target="../slideLayouts/slideLayout61.xml"/><Relationship Id="rId34" Type="http://schemas.openxmlformats.org/officeDocument/2006/relationships/image" Target="../media/image1.png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17" Type="http://schemas.openxmlformats.org/officeDocument/2006/relationships/slideLayout" Target="../slideLayouts/slideLayout57.xml"/><Relationship Id="rId25" Type="http://schemas.openxmlformats.org/officeDocument/2006/relationships/slideLayout" Target="../slideLayouts/slideLayout65.xml"/><Relationship Id="rId33" Type="http://schemas.openxmlformats.org/officeDocument/2006/relationships/theme" Target="../theme/theme3.xml"/><Relationship Id="rId2" Type="http://schemas.openxmlformats.org/officeDocument/2006/relationships/slideLayout" Target="../slideLayouts/slideLayout42.xml"/><Relationship Id="rId16" Type="http://schemas.openxmlformats.org/officeDocument/2006/relationships/slideLayout" Target="../slideLayouts/slideLayout56.xml"/><Relationship Id="rId20" Type="http://schemas.openxmlformats.org/officeDocument/2006/relationships/slideLayout" Target="../slideLayouts/slideLayout60.xml"/><Relationship Id="rId29" Type="http://schemas.openxmlformats.org/officeDocument/2006/relationships/slideLayout" Target="../slideLayouts/slideLayout69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24" Type="http://schemas.openxmlformats.org/officeDocument/2006/relationships/slideLayout" Target="../slideLayouts/slideLayout64.xml"/><Relationship Id="rId32" Type="http://schemas.openxmlformats.org/officeDocument/2006/relationships/slideLayout" Target="../slideLayouts/slideLayout72.xml"/><Relationship Id="rId5" Type="http://schemas.openxmlformats.org/officeDocument/2006/relationships/slideLayout" Target="../slideLayouts/slideLayout45.xml"/><Relationship Id="rId15" Type="http://schemas.openxmlformats.org/officeDocument/2006/relationships/slideLayout" Target="../slideLayouts/slideLayout55.xml"/><Relationship Id="rId23" Type="http://schemas.openxmlformats.org/officeDocument/2006/relationships/slideLayout" Target="../slideLayouts/slideLayout63.xml"/><Relationship Id="rId28" Type="http://schemas.openxmlformats.org/officeDocument/2006/relationships/slideLayout" Target="../slideLayouts/slideLayout68.xml"/><Relationship Id="rId10" Type="http://schemas.openxmlformats.org/officeDocument/2006/relationships/slideLayout" Target="../slideLayouts/slideLayout50.xml"/><Relationship Id="rId19" Type="http://schemas.openxmlformats.org/officeDocument/2006/relationships/slideLayout" Target="../slideLayouts/slideLayout59.xml"/><Relationship Id="rId31" Type="http://schemas.openxmlformats.org/officeDocument/2006/relationships/slideLayout" Target="../slideLayouts/slideLayout71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slideLayout" Target="../slideLayouts/slideLayout54.xml"/><Relationship Id="rId22" Type="http://schemas.openxmlformats.org/officeDocument/2006/relationships/slideLayout" Target="../slideLayouts/slideLayout62.xml"/><Relationship Id="rId27" Type="http://schemas.openxmlformats.org/officeDocument/2006/relationships/slideLayout" Target="../slideLayouts/slideLayout67.xml"/><Relationship Id="rId30" Type="http://schemas.openxmlformats.org/officeDocument/2006/relationships/slideLayout" Target="../slideLayouts/slideLayout70.xml"/><Relationship Id="rId8" Type="http://schemas.openxmlformats.org/officeDocument/2006/relationships/slideLayout" Target="../slideLayouts/slideLayout48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5.xml"/><Relationship Id="rId18" Type="http://schemas.openxmlformats.org/officeDocument/2006/relationships/slideLayout" Target="../slideLayouts/slideLayout90.xml"/><Relationship Id="rId26" Type="http://schemas.openxmlformats.org/officeDocument/2006/relationships/slideLayout" Target="../slideLayouts/slideLayout98.xml"/><Relationship Id="rId3" Type="http://schemas.openxmlformats.org/officeDocument/2006/relationships/slideLayout" Target="../slideLayouts/slideLayout75.xml"/><Relationship Id="rId21" Type="http://schemas.openxmlformats.org/officeDocument/2006/relationships/slideLayout" Target="../slideLayouts/slideLayout93.xml"/><Relationship Id="rId34" Type="http://schemas.openxmlformats.org/officeDocument/2006/relationships/slideLayout" Target="../slideLayouts/slideLayout106.xml"/><Relationship Id="rId7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4.xml"/><Relationship Id="rId17" Type="http://schemas.openxmlformats.org/officeDocument/2006/relationships/slideLayout" Target="../slideLayouts/slideLayout89.xml"/><Relationship Id="rId25" Type="http://schemas.openxmlformats.org/officeDocument/2006/relationships/slideLayout" Target="../slideLayouts/slideLayout97.xml"/><Relationship Id="rId33" Type="http://schemas.openxmlformats.org/officeDocument/2006/relationships/slideLayout" Target="../slideLayouts/slideLayout105.xml"/><Relationship Id="rId2" Type="http://schemas.openxmlformats.org/officeDocument/2006/relationships/slideLayout" Target="../slideLayouts/slideLayout74.xml"/><Relationship Id="rId16" Type="http://schemas.openxmlformats.org/officeDocument/2006/relationships/slideLayout" Target="../slideLayouts/slideLayout88.xml"/><Relationship Id="rId20" Type="http://schemas.openxmlformats.org/officeDocument/2006/relationships/slideLayout" Target="../slideLayouts/slideLayout92.xml"/><Relationship Id="rId29" Type="http://schemas.openxmlformats.org/officeDocument/2006/relationships/slideLayout" Target="../slideLayouts/slideLayout101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24" Type="http://schemas.openxmlformats.org/officeDocument/2006/relationships/slideLayout" Target="../slideLayouts/slideLayout96.xml"/><Relationship Id="rId32" Type="http://schemas.openxmlformats.org/officeDocument/2006/relationships/slideLayout" Target="../slideLayouts/slideLayout104.xml"/><Relationship Id="rId5" Type="http://schemas.openxmlformats.org/officeDocument/2006/relationships/slideLayout" Target="../slideLayouts/slideLayout77.xml"/><Relationship Id="rId15" Type="http://schemas.openxmlformats.org/officeDocument/2006/relationships/slideLayout" Target="../slideLayouts/slideLayout87.xml"/><Relationship Id="rId23" Type="http://schemas.openxmlformats.org/officeDocument/2006/relationships/slideLayout" Target="../slideLayouts/slideLayout95.xml"/><Relationship Id="rId28" Type="http://schemas.openxmlformats.org/officeDocument/2006/relationships/slideLayout" Target="../slideLayouts/slideLayout100.xml"/><Relationship Id="rId36" Type="http://schemas.openxmlformats.org/officeDocument/2006/relationships/image" Target="../media/image1.png"/><Relationship Id="rId10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91.xml"/><Relationship Id="rId31" Type="http://schemas.openxmlformats.org/officeDocument/2006/relationships/slideLayout" Target="../slideLayouts/slideLayout103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slideLayout" Target="../slideLayouts/slideLayout86.xml"/><Relationship Id="rId22" Type="http://schemas.openxmlformats.org/officeDocument/2006/relationships/slideLayout" Target="../slideLayouts/slideLayout94.xml"/><Relationship Id="rId27" Type="http://schemas.openxmlformats.org/officeDocument/2006/relationships/slideLayout" Target="../slideLayouts/slideLayout99.xml"/><Relationship Id="rId30" Type="http://schemas.openxmlformats.org/officeDocument/2006/relationships/slideLayout" Target="../slideLayouts/slideLayout102.xml"/><Relationship Id="rId35" Type="http://schemas.openxmlformats.org/officeDocument/2006/relationships/theme" Target="../theme/theme4.xml"/><Relationship Id="rId8" Type="http://schemas.openxmlformats.org/officeDocument/2006/relationships/slideLayout" Target="../slideLayouts/slideLayout8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A82DE541-873F-DAB5-66A6-5C079478BE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58A97245-1AD0-E78B-77C4-C3BC1EA3265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97D35C2B-5B36-47BE-C405-1172A4C384C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9B0D960-4988-4E06-8237-45973EBCFD50}" type="datetimeFigureOut">
              <a:rPr lang="pt-BR" smtClean="0"/>
              <a:t>24/10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F35334D7-1637-2616-BB5B-7546F92994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5CF56FD9-9B43-262B-DFAE-4E4F2B5204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  <p:pic>
        <p:nvPicPr>
          <p:cNvPr id="7" name="logo2-04.png" descr="logo2-04.png">
            <a:extLst>
              <a:ext uri="{FF2B5EF4-FFF2-40B4-BE49-F238E27FC236}">
                <a16:creationId xmlns:a16="http://schemas.microsoft.com/office/drawing/2014/main" id="{6988B69E-1E70-A3CA-D170-BA8E387C4054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5303072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4" name="logo2-04.png" descr="logo2-04.png">
            <a:extLst>
              <a:ext uri="{FF2B5EF4-FFF2-40B4-BE49-F238E27FC236}">
                <a16:creationId xmlns:a16="http://schemas.microsoft.com/office/drawing/2014/main" id="{18B5EE56-40F3-0DBB-EAAB-88303CEFFE79}"/>
              </a:ext>
            </a:extLst>
          </p:cNvPr>
          <p:cNvPicPr>
            <a:picLocks noChangeAspect="1"/>
          </p:cNvPicPr>
          <p:nvPr userDrawn="1"/>
        </p:nvPicPr>
        <p:blipFill>
          <a:blip r:embed="rId30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2297384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  <p:sldLayoutId id="2147483686" r:id="rId25"/>
    <p:sldLayoutId id="2147483687" r:id="rId26"/>
    <p:sldLayoutId id="2147483689" r:id="rId27"/>
    <p:sldLayoutId id="2147483792" r:id="rId28"/>
  </p:sldLayoutIdLst>
  <p:hf sldNum="0"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b="0" i="0" kern="1200">
          <a:solidFill>
            <a:schemeClr val="tx1"/>
          </a:solidFill>
          <a:latin typeface="IBM Plex Sans" charset="0"/>
          <a:ea typeface="IBM Plex Sans" charset="0"/>
          <a:cs typeface="IBM Plex Sans" charset="0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Clr>
          <a:srgbClr val="61C29F"/>
        </a:buClr>
        <a:buFont typeface="Arial"/>
        <a:buChar char="•"/>
        <a:defRPr sz="1800" b="0" i="0" kern="1200">
          <a:solidFill>
            <a:srgbClr val="606060"/>
          </a:solidFill>
          <a:latin typeface="IBM Plex Sans" charset="0"/>
          <a:ea typeface="IBM Plex Sans" charset="0"/>
          <a:cs typeface="IBM Plex Sans" charset="0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61C29F"/>
        </a:buClr>
        <a:buFont typeface="Arial"/>
        <a:buChar char="•"/>
        <a:defRPr sz="1800" b="0" i="0" kern="1200">
          <a:solidFill>
            <a:srgbClr val="606060"/>
          </a:solidFill>
          <a:latin typeface="IBM Plex Sans" charset="0"/>
          <a:ea typeface="IBM Plex Sans" charset="0"/>
          <a:cs typeface="IBM Plex Sans" charset="0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61C29F"/>
        </a:buClr>
        <a:buFont typeface="Arial"/>
        <a:buChar char="•"/>
        <a:defRPr sz="1800" b="0" i="0" kern="1200">
          <a:solidFill>
            <a:srgbClr val="606060"/>
          </a:solidFill>
          <a:latin typeface="IBM Plex Sans" charset="0"/>
          <a:ea typeface="IBM Plex Sans" charset="0"/>
          <a:cs typeface="IBM Plex Sans" charset="0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61C29F"/>
        </a:buClr>
        <a:buFont typeface="Arial"/>
        <a:buChar char="•"/>
        <a:defRPr sz="1800" b="0" i="0" kern="1200">
          <a:solidFill>
            <a:srgbClr val="606060"/>
          </a:solidFill>
          <a:latin typeface="IBM Plex Sans" charset="0"/>
          <a:ea typeface="IBM Plex Sans" charset="0"/>
          <a:cs typeface="IBM Plex Sans" charset="0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61C29F"/>
        </a:buClr>
        <a:buFont typeface="Arial"/>
        <a:buChar char="•"/>
        <a:defRPr sz="1800" b="0" i="0" kern="1200">
          <a:solidFill>
            <a:srgbClr val="606060"/>
          </a:solidFill>
          <a:latin typeface="IBM Plex Sans" charset="0"/>
          <a:ea typeface="IBM Plex Sans" charset="0"/>
          <a:cs typeface="IBM Plex Sans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"/>
          <p:cNvSpPr>
            <a:spLocks noGrp="1"/>
          </p:cNvSpPr>
          <p:nvPr>
            <p:ph type="title"/>
          </p:nvPr>
        </p:nvSpPr>
        <p:spPr>
          <a:xfrm>
            <a:off x="280416" y="268225"/>
            <a:ext cx="5522976" cy="572617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"/>
          <p:cNvSpPr>
            <a:spLocks noGrp="1"/>
          </p:cNvSpPr>
          <p:nvPr>
            <p:ph type="body" idx="1"/>
          </p:nvPr>
        </p:nvSpPr>
        <p:spPr>
          <a:xfrm>
            <a:off x="6388608" y="268225"/>
            <a:ext cx="5498592" cy="57261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304890" y="6383867"/>
            <a:ext cx="5486313" cy="2222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marR="0" indent="0" algn="l" defTabSz="9137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99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/>
              <a:t>Group Name / DOC ID / Month XX, 2019 / © 2019 IBM Corporation</a:t>
            </a:r>
            <a:endParaRPr lang="en-US" dirty="0"/>
          </a:p>
        </p:txBody>
      </p:sp>
      <p:sp>
        <p:nvSpPr>
          <p:cNvPr id="8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9448803" y="6383867"/>
            <a:ext cx="2438309" cy="2222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799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59" name="Group 58" descr="Outside edge tick marks for alignment">
            <a:extLst>
              <a:ext uri="{C183D7F6-B498-43B3-948B-1728B52AA6E4}">
                <adec:decorative xmlns:adec="http://schemas.microsoft.com/office/drawing/2017/decorative" val="0"/>
              </a:ext>
            </a:extLst>
          </p:cNvPr>
          <p:cNvGrpSpPr/>
          <p:nvPr userDrawn="1"/>
        </p:nvGrpSpPr>
        <p:grpSpPr>
          <a:xfrm>
            <a:off x="-146307" y="-147320"/>
            <a:ext cx="12485627" cy="7152640"/>
            <a:chOff x="-109730" y="-110490"/>
            <a:chExt cx="9364220" cy="5364480"/>
          </a:xfrm>
        </p:grpSpPr>
        <p:grpSp>
          <p:nvGrpSpPr>
            <p:cNvPr id="60" name="Group 59"/>
            <p:cNvGrpSpPr/>
            <p:nvPr userDrawn="1"/>
          </p:nvGrpSpPr>
          <p:grpSpPr>
            <a:xfrm>
              <a:off x="228600" y="-110490"/>
              <a:ext cx="8686732" cy="91440"/>
              <a:chOff x="228600" y="-152400"/>
              <a:chExt cx="8686732" cy="152400"/>
            </a:xfrm>
          </p:grpSpPr>
          <p:cxnSp>
            <p:nvCxnSpPr>
              <p:cNvPr id="93" name="Straight Connector 9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/>
            <p:cNvGrpSpPr/>
            <p:nvPr userDrawn="1"/>
          </p:nvGrpSpPr>
          <p:grpSpPr>
            <a:xfrm>
              <a:off x="228600" y="5162550"/>
              <a:ext cx="8686732" cy="91440"/>
              <a:chOff x="228600" y="5143500"/>
              <a:chExt cx="8686732" cy="152400"/>
            </a:xfrm>
          </p:grpSpPr>
          <p:cxnSp>
            <p:nvCxnSpPr>
              <p:cNvPr id="82" name="Straight Connector 8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/>
            <p:cNvGrpSpPr/>
            <p:nvPr userDrawn="1"/>
          </p:nvGrpSpPr>
          <p:grpSpPr>
            <a:xfrm>
              <a:off x="-109730" y="237744"/>
              <a:ext cx="91440" cy="4664456"/>
              <a:chOff x="-109730" y="237744"/>
              <a:chExt cx="91440" cy="4664456"/>
            </a:xfrm>
          </p:grpSpPr>
          <p:cxnSp>
            <p:nvCxnSpPr>
              <p:cNvPr id="73" name="Straight Connector 7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5379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930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938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70990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954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962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9427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3774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902200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/>
            <p:cNvGrpSpPr/>
            <p:nvPr userDrawn="1"/>
          </p:nvGrpSpPr>
          <p:grpSpPr>
            <a:xfrm>
              <a:off x="9163050" y="237744"/>
              <a:ext cx="91440" cy="4663440"/>
              <a:chOff x="-109730" y="231394"/>
              <a:chExt cx="91440" cy="4663440"/>
            </a:xfrm>
          </p:grpSpPr>
          <p:cxnSp>
            <p:nvCxnSpPr>
              <p:cNvPr id="64" name="Straight Connector 6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4744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295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303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6311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319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327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8792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3139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89483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BF7E8C16-95CB-8E64-B04F-C4C45E77947F}"/>
              </a:ext>
            </a:extLst>
          </p:cNvPr>
          <p:cNvPicPr>
            <a:picLocks noChangeAspect="1"/>
          </p:cNvPicPr>
          <p:nvPr userDrawn="1"/>
        </p:nvPicPr>
        <p:blipFill>
          <a:blip r:embed="rId34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12797990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  <p:sldLayoutId id="2147483729" r:id="rId6"/>
    <p:sldLayoutId id="2147483730" r:id="rId7"/>
    <p:sldLayoutId id="2147483731" r:id="rId8"/>
    <p:sldLayoutId id="2147483732" r:id="rId9"/>
    <p:sldLayoutId id="2147483733" r:id="rId10"/>
    <p:sldLayoutId id="2147483734" r:id="rId11"/>
    <p:sldLayoutId id="2147483735" r:id="rId12"/>
    <p:sldLayoutId id="2147483736" r:id="rId13"/>
    <p:sldLayoutId id="2147483737" r:id="rId14"/>
    <p:sldLayoutId id="2147483775" r:id="rId15"/>
    <p:sldLayoutId id="2147483739" r:id="rId16"/>
    <p:sldLayoutId id="2147483776" r:id="rId17"/>
    <p:sldLayoutId id="2147483777" r:id="rId18"/>
    <p:sldLayoutId id="2147483778" r:id="rId19"/>
    <p:sldLayoutId id="2147483779" r:id="rId20"/>
    <p:sldLayoutId id="2147483780" r:id="rId21"/>
    <p:sldLayoutId id="2147483781" r:id="rId22"/>
    <p:sldLayoutId id="2147483782" r:id="rId23"/>
    <p:sldLayoutId id="2147483783" r:id="rId24"/>
    <p:sldLayoutId id="2147483784" r:id="rId25"/>
    <p:sldLayoutId id="2147483785" r:id="rId26"/>
    <p:sldLayoutId id="2147483786" r:id="rId27"/>
    <p:sldLayoutId id="2147483787" r:id="rId28"/>
    <p:sldLayoutId id="2147483788" r:id="rId29"/>
    <p:sldLayoutId id="2147483789" r:id="rId30"/>
    <p:sldLayoutId id="2147483790" r:id="rId31"/>
    <p:sldLayoutId id="2147483791" r:id="rId32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197" b="0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5pPr>
      <a:lvl6pPr marL="482929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6pPr>
      <a:lvl7pPr marL="96586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7pPr>
      <a:lvl8pPr marL="144879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8pPr>
      <a:lvl9pPr marL="193172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1465"/>
        </a:spcBef>
        <a:spcAft>
          <a:spcPct val="0"/>
        </a:spcAft>
        <a:buClr>
          <a:schemeClr val="tx1"/>
        </a:buClr>
        <a:buSzPct val="90000"/>
        <a:buFont typeface="Wingdings" pitchFamily="2" charset="2"/>
        <a:buNone/>
        <a:defRPr sz="1865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1pPr>
      <a:lvl2pPr marL="228369" indent="-231410" algn="l" rtl="0" eaLnBrk="1" fontAlgn="base" hangingPunct="1">
        <a:lnSpc>
          <a:spcPct val="100000"/>
        </a:lnSpc>
        <a:spcBef>
          <a:spcPts val="1465"/>
        </a:spcBef>
        <a:spcAft>
          <a:spcPct val="0"/>
        </a:spcAft>
        <a:buClr>
          <a:schemeClr val="tx1"/>
        </a:buClr>
        <a:buSzPct val="100000"/>
        <a:buFont typeface=".AppleSystemUIFont" charset="-120"/>
        <a:buChar char="–"/>
        <a:tabLst/>
        <a:defRPr sz="1865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2pPr>
      <a:lvl3pPr marL="456738" indent="-231410" algn="l" rtl="0" eaLnBrk="1" fontAlgn="base" hangingPunct="1">
        <a:lnSpc>
          <a:spcPct val="100000"/>
        </a:lnSpc>
        <a:spcBef>
          <a:spcPts val="1465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tabLst/>
        <a:defRPr sz="1865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3pPr>
      <a:lvl4pPr marL="837351" indent="-231410" algn="l" rtl="0" eaLnBrk="1" fontAlgn="base" hangingPunct="1">
        <a:lnSpc>
          <a:spcPct val="100000"/>
        </a:lnSpc>
        <a:spcBef>
          <a:spcPts val="1465"/>
        </a:spcBef>
        <a:spcAft>
          <a:spcPct val="0"/>
        </a:spcAft>
        <a:buClr>
          <a:schemeClr val="tx1"/>
        </a:buClr>
        <a:buSzPct val="100000"/>
        <a:buFont typeface=".AppleSystemUIFont" charset="-120"/>
        <a:buChar char="–"/>
        <a:tabLst/>
        <a:defRPr sz="1865" baseline="0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4pPr>
      <a:lvl5pPr marL="1069949" indent="-231410" algn="l" rtl="0" eaLnBrk="1" fontAlgn="base" hangingPunct="1">
        <a:lnSpc>
          <a:spcPct val="100000"/>
        </a:lnSpc>
        <a:spcBef>
          <a:spcPts val="1465"/>
        </a:spcBef>
        <a:spcAft>
          <a:spcPct val="0"/>
        </a:spcAft>
        <a:buClr>
          <a:schemeClr val="tx1"/>
        </a:buClr>
        <a:buFont typeface=".AppleSystemUIFont" charset="-120"/>
        <a:buChar char="»"/>
        <a:tabLst/>
        <a:defRPr sz="1865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5pPr>
      <a:lvl6pPr marL="2109463" indent="-172716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1">
          <a:solidFill>
            <a:schemeClr val="bg1"/>
          </a:solidFill>
          <a:latin typeface="Arial" charset="0"/>
        </a:defRPr>
      </a:lvl6pPr>
      <a:lvl7pPr marL="2592395" indent="-172716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1">
          <a:solidFill>
            <a:schemeClr val="bg1"/>
          </a:solidFill>
          <a:latin typeface="Arial" charset="0"/>
        </a:defRPr>
      </a:lvl7pPr>
      <a:lvl8pPr marL="3075326" indent="-172716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1">
          <a:solidFill>
            <a:schemeClr val="bg1"/>
          </a:solidFill>
          <a:latin typeface="Arial" charset="0"/>
        </a:defRPr>
      </a:lvl8pPr>
      <a:lvl9pPr marL="3558256" indent="-172716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1">
          <a:solidFill>
            <a:schemeClr val="bg1"/>
          </a:solidFill>
          <a:latin typeface="Arial" charset="0"/>
        </a:defRPr>
      </a:lvl9pPr>
    </p:bodyStyle>
    <p:otherStyle>
      <a:defPPr>
        <a:defRPr lang="en-US"/>
      </a:defPPr>
      <a:lvl1pPr marL="0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1pPr>
      <a:lvl2pPr marL="482929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2pPr>
      <a:lvl3pPr marL="965861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3pPr>
      <a:lvl4pPr marL="1448790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4pPr>
      <a:lvl5pPr marL="1931720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5pPr>
      <a:lvl6pPr marL="2414650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6pPr>
      <a:lvl7pPr marL="2897578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7pPr>
      <a:lvl8pPr marL="3380509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8pPr>
      <a:lvl9pPr marL="3863438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>
          <p15:clr>
            <a:srgbClr val="F26B43"/>
          </p15:clr>
        </p15:guide>
        <p15:guide id="2" pos="288">
          <p15:clr>
            <a:srgbClr val="F26B43"/>
          </p15:clr>
        </p15:guide>
        <p15:guide id="3" pos="11232">
          <p15:clr>
            <a:srgbClr val="F26B43"/>
          </p15:clr>
        </p15:guide>
        <p15:guide id="4" orient="horz" pos="5669">
          <p15:clr>
            <a:srgbClr val="F26B43"/>
          </p15:clr>
        </p15:guide>
        <p15:guide id="5" orient="horz" pos="6182">
          <p15:clr>
            <a:srgbClr val="F26B43"/>
          </p15:clr>
        </p15:guide>
        <p15:guide id="6" pos="5760">
          <p15:clr>
            <a:srgbClr val="F26B43"/>
          </p15:clr>
        </p15:guide>
        <p15:guide id="7" pos="5472">
          <p15:clr>
            <a:srgbClr val="F26B43"/>
          </p15:clr>
        </p15:guide>
        <p15:guide id="8" pos="2880">
          <p15:clr>
            <a:srgbClr val="F26B43"/>
          </p15:clr>
        </p15:guide>
        <p15:guide id="9" pos="6048">
          <p15:clr>
            <a:srgbClr val="F26B43"/>
          </p15:clr>
        </p15:guide>
        <p15:guide id="10" pos="2592">
          <p15:clr>
            <a:srgbClr val="F26B43"/>
          </p15:clr>
        </p15:guide>
        <p15:guide id="11" pos="3168">
          <p15:clr>
            <a:srgbClr val="F26B43"/>
          </p15:clr>
        </p15:guide>
        <p15:guide id="12" pos="8640">
          <p15:clr>
            <a:srgbClr val="F26B43"/>
          </p15:clr>
        </p15:guide>
        <p15:guide id="13" pos="8352">
          <p15:clr>
            <a:srgbClr val="F26B43"/>
          </p15:clr>
        </p15:guide>
        <p15:guide id="14" pos="8928">
          <p15:clr>
            <a:srgbClr val="F26B43"/>
          </p15:clr>
        </p15:guide>
        <p15:guide id="15" orient="horz" pos="825">
          <p15:clr>
            <a:srgbClr val="F26B43"/>
          </p15:clr>
        </p15:guide>
        <p15:guide id="17" orient="horz" pos="1626">
          <p15:clr>
            <a:srgbClr val="F26B43"/>
          </p15:clr>
        </p15:guide>
        <p15:guide id="18" orient="horz" pos="3243">
          <p15:clr>
            <a:srgbClr val="F26B43"/>
          </p15:clr>
        </p15:guide>
        <p15:guide id="19" orient="horz" pos="2434">
          <p15:clr>
            <a:srgbClr val="F26B43"/>
          </p15:clr>
        </p15:guide>
        <p15:guide id="20" orient="horz" pos="4048">
          <p15:clr>
            <a:srgbClr val="F26B43"/>
          </p15:clr>
        </p15:guide>
        <p15:guide id="21" orient="horz" pos="4852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98813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00800" y="256033"/>
            <a:ext cx="5486400" cy="60003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9144000" y="6435307"/>
            <a:ext cx="27432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 baseline="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3FD999D4-B456-9943-89B7-30D56181CE1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endParaRPr lang="en-US"/>
          </a:p>
        </p:txBody>
      </p:sp>
      <p:pic>
        <p:nvPicPr>
          <p:cNvPr id="4" name="logo2-04.png" descr="logo2-04.png">
            <a:extLst>
              <a:ext uri="{FF2B5EF4-FFF2-40B4-BE49-F238E27FC236}">
                <a16:creationId xmlns:a16="http://schemas.microsoft.com/office/drawing/2014/main" id="{6D1DCB56-99B2-79AC-402F-3248D14A369C}"/>
              </a:ext>
            </a:extLst>
          </p:cNvPr>
          <p:cNvPicPr>
            <a:picLocks noChangeAspect="1"/>
          </p:cNvPicPr>
          <p:nvPr userDrawn="1"/>
        </p:nvPicPr>
        <p:blipFill>
          <a:blip r:embed="rId36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0746147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48" r:id="rId9"/>
    <p:sldLayoutId id="2147483749" r:id="rId10"/>
    <p:sldLayoutId id="2147483750" r:id="rId11"/>
    <p:sldLayoutId id="2147483751" r:id="rId12"/>
    <p:sldLayoutId id="2147483752" r:id="rId13"/>
    <p:sldLayoutId id="2147483753" r:id="rId14"/>
    <p:sldLayoutId id="2147483754" r:id="rId15"/>
    <p:sldLayoutId id="2147483755" r:id="rId16"/>
    <p:sldLayoutId id="2147483756" r:id="rId17"/>
    <p:sldLayoutId id="2147483757" r:id="rId18"/>
    <p:sldLayoutId id="2147483758" r:id="rId19"/>
    <p:sldLayoutId id="2147483759" r:id="rId20"/>
    <p:sldLayoutId id="2147483760" r:id="rId21"/>
    <p:sldLayoutId id="2147483761" r:id="rId22"/>
    <p:sldLayoutId id="2147483762" r:id="rId23"/>
    <p:sldLayoutId id="2147483763" r:id="rId24"/>
    <p:sldLayoutId id="2147483764" r:id="rId25"/>
    <p:sldLayoutId id="2147483765" r:id="rId26"/>
    <p:sldLayoutId id="2147483766" r:id="rId27"/>
    <p:sldLayoutId id="2147483767" r:id="rId28"/>
    <p:sldLayoutId id="2147483768" r:id="rId29"/>
    <p:sldLayoutId id="2147483769" r:id="rId30"/>
    <p:sldLayoutId id="2147483770" r:id="rId31"/>
    <p:sldLayoutId id="2147483771" r:id="rId32"/>
    <p:sldLayoutId id="2147483772" r:id="rId33"/>
    <p:sldLayoutId id="2147483773" r:id="rId34"/>
  </p:sldLayoutIdLst>
  <p:hf hdr="0" ftr="0" dt="0"/>
  <p:txStyles>
    <p:titleStyle>
      <a:lvl1pPr algn="l" defTabSz="609585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bg2"/>
          </a:solidFill>
          <a:latin typeface="+mj-lt"/>
          <a:ea typeface="Arial" charset="0"/>
          <a:cs typeface="Arial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1467"/>
        </a:spcBef>
        <a:buFont typeface="Arial"/>
        <a:buNone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1pPr>
      <a:lvl2pPr marL="230712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–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2pPr>
      <a:lvl3pPr marL="529153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•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3pPr>
      <a:lvl4pPr marL="833946" indent="-224361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–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4pPr>
      <a:lvl5pPr marL="1071007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»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296">
          <p15:clr>
            <a:srgbClr val="F26B43"/>
          </p15:clr>
        </p15:guide>
        <p15:guide id="2" orient="horz" pos="1619">
          <p15:clr>
            <a:srgbClr val="F26B43"/>
          </p15:clr>
        </p15:guide>
        <p15:guide id="3" orient="horz" pos="1216">
          <p15:clr>
            <a:srgbClr val="F26B43"/>
          </p15:clr>
        </p15:guide>
        <p15:guide id="5" orient="horz" pos="813">
          <p15:clr>
            <a:srgbClr val="F26B43"/>
          </p15:clr>
        </p15:guide>
        <p15:guide id="7" orient="horz" pos="2022">
          <p15:clr>
            <a:srgbClr val="F26B43"/>
          </p15:clr>
        </p15:guide>
        <p15:guide id="8" orient="horz" pos="2426">
          <p15:clr>
            <a:srgbClr val="F26B43"/>
          </p15:clr>
        </p15:guide>
        <p15:guide id="9" orient="horz" pos="2829">
          <p15:clr>
            <a:srgbClr val="F26B43"/>
          </p15:clr>
        </p15:guide>
        <p15:guide id="11" pos="2880">
          <p15:clr>
            <a:srgbClr val="F26B43"/>
          </p15:clr>
        </p15:guide>
        <p15:guide id="13" pos="2736">
          <p15:clr>
            <a:srgbClr val="F26B43"/>
          </p15:clr>
        </p15:guide>
        <p15:guide id="15" pos="1584">
          <p15:clr>
            <a:srgbClr val="F26B43"/>
          </p15:clr>
        </p15:guide>
        <p15:guide id="17" pos="1440">
          <p15:clr>
            <a:srgbClr val="F26B43"/>
          </p15:clr>
        </p15:guide>
        <p15:guide id="20" pos="3024">
          <p15:clr>
            <a:srgbClr val="F26B43"/>
          </p15:clr>
        </p15:guide>
        <p15:guide id="22" pos="4320">
          <p15:clr>
            <a:srgbClr val="F26B43"/>
          </p15:clr>
        </p15:guide>
        <p15:guide id="24" pos="144">
          <p15:clr>
            <a:srgbClr val="F26B43"/>
          </p15:clr>
        </p15:guide>
        <p15:guide id="26" pos="5616">
          <p15:clr>
            <a:srgbClr val="F26B43"/>
          </p15:clr>
        </p15:guide>
        <p15:guide id="27" orient="horz" pos="142">
          <p15:clr>
            <a:srgbClr val="F26B43"/>
          </p15:clr>
        </p15:guide>
        <p15:guide id="31" pos="4176">
          <p15:clr>
            <a:srgbClr val="F26B43"/>
          </p15:clr>
        </p15:guide>
        <p15:guide id="32" pos="4464">
          <p15:clr>
            <a:srgbClr val="F26B43"/>
          </p15:clr>
        </p15:guide>
        <p15:guide id="34" orient="horz" pos="3098">
          <p15:clr>
            <a:srgbClr val="F26B43"/>
          </p15:clr>
        </p15:guide>
        <p15:guide id="35" orient="horz" pos="420">
          <p15:clr>
            <a:srgbClr val="F26B43"/>
          </p15:clr>
        </p15:guide>
        <p15:guide id="36" orient="horz" pos="73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8.png"/><Relationship Id="rId5" Type="http://schemas.openxmlformats.org/officeDocument/2006/relationships/hyperlink" Target="mailto:alexandre.zanetti@br.ibm.com" TargetMode="External"/><Relationship Id="rId4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hyperlink" Target="https://reports.rchland.ibm.com/cgi-bin/sf?TS019775283" TargetMode="External"/><Relationship Id="rId13" Type="http://schemas.openxmlformats.org/officeDocument/2006/relationships/hyperlink" Target="https://reports.rchland.ibm.com/cgi-bin/sf?TS019373888" TargetMode="External"/><Relationship Id="rId18" Type="http://schemas.openxmlformats.org/officeDocument/2006/relationships/hyperlink" Target="https://reports.rchland.ibm.com/cgi-bin/sf?TS018634572" TargetMode="External"/><Relationship Id="rId3" Type="http://schemas.openxmlformats.org/officeDocument/2006/relationships/hyperlink" Target="https://reports.rchland.ibm.com/cgi-bin/sf?TS020175358" TargetMode="External"/><Relationship Id="rId21" Type="http://schemas.openxmlformats.org/officeDocument/2006/relationships/hyperlink" Target="https://smartcare.rchland.ibm.com/Dashboard/html/reports/detailedReport.html?reportType=SFC&amp;index=344&amp;division=All&amp;brand=All&amp;geo=All&amp;cc=All&amp;problem_type=Software&amp;case_status=All&amp;status=All" TargetMode="External"/><Relationship Id="rId7" Type="http://schemas.openxmlformats.org/officeDocument/2006/relationships/hyperlink" Target="https://reports.rchland.ibm.com/cgi-bin/sf?TS019775919" TargetMode="External"/><Relationship Id="rId12" Type="http://schemas.openxmlformats.org/officeDocument/2006/relationships/hyperlink" Target="https://reports.rchland.ibm.com/cgi-bin/sf?TS019378042" TargetMode="External"/><Relationship Id="rId17" Type="http://schemas.openxmlformats.org/officeDocument/2006/relationships/hyperlink" Target="https://reports.rchland.ibm.com/cgi-bin/sf?TS018895482" TargetMode="External"/><Relationship Id="rId2" Type="http://schemas.openxmlformats.org/officeDocument/2006/relationships/image" Target="../media/image1.png"/><Relationship Id="rId16" Type="http://schemas.openxmlformats.org/officeDocument/2006/relationships/hyperlink" Target="https://reports.rchland.ibm.com/cgi-bin/sf?TS018898555" TargetMode="External"/><Relationship Id="rId20" Type="http://schemas.openxmlformats.org/officeDocument/2006/relationships/hyperlink" Target="https://reports.rchland.ibm.com/cgi-bin/sf?TS018220590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reports.rchland.ibm.com/cgi-bin/sf?TS019910892" TargetMode="External"/><Relationship Id="rId11" Type="http://schemas.openxmlformats.org/officeDocument/2006/relationships/hyperlink" Target="https://reports.rchland.ibm.com/cgi-bin/sf?TS019552684" TargetMode="External"/><Relationship Id="rId5" Type="http://schemas.openxmlformats.org/officeDocument/2006/relationships/hyperlink" Target="https://reports.rchland.ibm.com/cgi-bin/sf?TS020005697" TargetMode="External"/><Relationship Id="rId15" Type="http://schemas.openxmlformats.org/officeDocument/2006/relationships/hyperlink" Target="https://reports.rchland.ibm.com/cgi-bin/sf?TS019032254" TargetMode="External"/><Relationship Id="rId10" Type="http://schemas.openxmlformats.org/officeDocument/2006/relationships/hyperlink" Target="https://reports.rchland.ibm.com/cgi-bin/sf?TS019707424" TargetMode="External"/><Relationship Id="rId19" Type="http://schemas.openxmlformats.org/officeDocument/2006/relationships/hyperlink" Target="https://reports.rchland.ibm.com/cgi-bin/sf?TS018425621" TargetMode="External"/><Relationship Id="rId4" Type="http://schemas.openxmlformats.org/officeDocument/2006/relationships/hyperlink" Target="https://reports.rchland.ibm.com/cgi-bin/sf?TS020016263" TargetMode="External"/><Relationship Id="rId9" Type="http://schemas.openxmlformats.org/officeDocument/2006/relationships/hyperlink" Target="https://reports.rchland.ibm.com/cgi-bin/sf?TS019742497" TargetMode="External"/><Relationship Id="rId14" Type="http://schemas.openxmlformats.org/officeDocument/2006/relationships/hyperlink" Target="https://reports.rchland.ibm.com/cgi-bin/sf?TS019363555" TargetMode="External"/><Relationship Id="rId22" Type="http://schemas.openxmlformats.org/officeDocument/2006/relationships/hyperlink" Target="https://w3.ibm.com/tools/caseviewer/listcases?type=accounts&amp;id=0015000001OVOGXAA5&amp;name=ITAU%20UNIBANCO%20S.A.&amp;ICN=0053000" TargetMode="Externa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image" Target="../media/image23.png"/><Relationship Id="rId7" Type="http://schemas.openxmlformats.org/officeDocument/2006/relationships/image" Target="../media/image25.png"/><Relationship Id="rId2" Type="http://schemas.openxmlformats.org/officeDocument/2006/relationships/hyperlink" Target="https://ibm.biz/avaliacao-csm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ibm.biz/linkedin-integra-x" TargetMode="External"/><Relationship Id="rId5" Type="http://schemas.openxmlformats.org/officeDocument/2006/relationships/image" Target="../media/image24.png"/><Relationship Id="rId4" Type="http://schemas.openxmlformats.org/officeDocument/2006/relationships/hyperlink" Target="https://ibm.biz/ibm-integra-x" TargetMode="External"/><Relationship Id="rId9" Type="http://schemas.openxmlformats.org/officeDocument/2006/relationships/image" Target="../media/image1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gartner.com/reviews/market/event-brokers/vendor/ibm/product/ibm-mq" TargetMode="External"/><Relationship Id="rId13" Type="http://schemas.openxmlformats.org/officeDocument/2006/relationships/hyperlink" Target="https://www.gartner.com/reviews/market/business-process-management-platforms/vendor/ibm/product/ibm-operational-decision-manager" TargetMode="External"/><Relationship Id="rId18" Type="http://schemas.openxmlformats.org/officeDocument/2006/relationships/hyperlink" Target="https://www.g2.com/contributor/ibm-turbonomic-25-usd-2-reward-link?secure%5Bpage_id%5D=ibm-turbonomic-25-usd-2-reward-link&amp;secure%5Brewards%5D=true&amp;secure%5Btoken%5D=32796aa81198b646011e86b0e261e984a48e546359a6b12b5a2c0956cf633fb1&amp;utm_source=ibm&amp;utm_medium=CSM&amp;utm_campaign=email" TargetMode="External"/><Relationship Id="rId26" Type="http://schemas.openxmlformats.org/officeDocument/2006/relationships/image" Target="../media/image36.png"/><Relationship Id="rId3" Type="http://schemas.openxmlformats.org/officeDocument/2006/relationships/image" Target="../media/image28.png"/><Relationship Id="rId21" Type="http://schemas.openxmlformats.org/officeDocument/2006/relationships/image" Target="../media/image1.png"/><Relationship Id="rId7" Type="http://schemas.openxmlformats.org/officeDocument/2006/relationships/hyperlink" Target="https://www.gartner.com/reviews/market/data-and-analytics-others/vendor/ibm/product/ibm-event-streams" TargetMode="External"/><Relationship Id="rId12" Type="http://schemas.openxmlformats.org/officeDocument/2006/relationships/hyperlink" Target="https://www.gartner.com/reviews/market/content-services-platforms/vendor/ibm/product/ibm-filenet-content-manager" TargetMode="External"/><Relationship Id="rId17" Type="http://schemas.openxmlformats.org/officeDocument/2006/relationships/hyperlink" Target="https://www.gartner.com/reviews/market/cloud-management-tooling/vendor/ibm/product/ibm-turbonomic" TargetMode="External"/><Relationship Id="rId25" Type="http://schemas.openxmlformats.org/officeDocument/2006/relationships/image" Target="../media/image35.png"/><Relationship Id="rId2" Type="http://schemas.openxmlformats.org/officeDocument/2006/relationships/image" Target="../media/image27.png"/><Relationship Id="rId16" Type="http://schemas.openxmlformats.org/officeDocument/2006/relationships/hyperlink" Target="https://www.gartner.com/reviews/market/observability-platforms/vendor/ibm/product/ibm-instana-observability" TargetMode="External"/><Relationship Id="rId20" Type="http://schemas.openxmlformats.org/officeDocument/2006/relationships/image" Target="../media/image31.pn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gartner.com/reviews/market/application-development-integration-and-management-others/vendor/ibm/product/ibm-aspera" TargetMode="External"/><Relationship Id="rId11" Type="http://schemas.openxmlformats.org/officeDocument/2006/relationships/hyperlink" Target="https://www.gartner.com/reviews/market/business-process-management-platforms/vendor/ibm/product/ibm-business-automation-workflow" TargetMode="External"/><Relationship Id="rId24" Type="http://schemas.openxmlformats.org/officeDocument/2006/relationships/image" Target="../media/image34.png"/><Relationship Id="rId5" Type="http://schemas.openxmlformats.org/officeDocument/2006/relationships/hyperlink" Target="https://www.gartner.com/reviews/market/application-integration-platforms/vendor/ibm/product/ibm-app-connect" TargetMode="External"/><Relationship Id="rId15" Type="http://schemas.openxmlformats.org/officeDocument/2006/relationships/hyperlink" Target="https://www.gartner.com/reviews/market/robotic-process-automation/vendor/ibm/product/ibm-robotic-process-automation" TargetMode="External"/><Relationship Id="rId23" Type="http://schemas.openxmlformats.org/officeDocument/2006/relationships/image" Target="../media/image33.png"/><Relationship Id="rId28" Type="http://schemas.openxmlformats.org/officeDocument/2006/relationships/image" Target="../media/image38.png"/><Relationship Id="rId10" Type="http://schemas.openxmlformats.org/officeDocument/2006/relationships/hyperlink" Target="https://www.gartner.com/reviews/market/application-platforms-reviews/vendor/ibm/product/websphere-application-server-liberty-core" TargetMode="External"/><Relationship Id="rId19" Type="http://schemas.openxmlformats.org/officeDocument/2006/relationships/image" Target="../media/image30.png"/><Relationship Id="rId4" Type="http://schemas.openxmlformats.org/officeDocument/2006/relationships/image" Target="../media/image29.png"/><Relationship Id="rId9" Type="http://schemas.openxmlformats.org/officeDocument/2006/relationships/hyperlink" Target="https://www.gartner.com/reviews/market/application-platforms-reviews/vendor/ibm/product/websphere-application-server-was" TargetMode="External"/><Relationship Id="rId14" Type="http://schemas.openxmlformats.org/officeDocument/2006/relationships/hyperlink" Target="https://www.gartner.com/reviews/market/process-mining-platforms/vendor/ibm/product/ibm-process-mining" TargetMode="External"/><Relationship Id="rId22" Type="http://schemas.openxmlformats.org/officeDocument/2006/relationships/image" Target="../media/image32.png"/><Relationship Id="rId27" Type="http://schemas.openxmlformats.org/officeDocument/2006/relationships/image" Target="../media/image37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bm.com/support/pages/lifecycle/search?q=ibm%20app%20connect%20enterprise" TargetMode="External"/><Relationship Id="rId7" Type="http://schemas.openxmlformats.org/officeDocument/2006/relationships/image" Target="../media/image41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hyperlink" Target="https://www.ibm.com/support/pages/lifecycle/search?q=ibm%20integration%20bus" TargetMode="Externa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1.png"/><Relationship Id="rId5" Type="http://schemas.openxmlformats.org/officeDocument/2006/relationships/image" Target="../media/image43.png"/><Relationship Id="rId4" Type="http://schemas.openxmlformats.org/officeDocument/2006/relationships/hyperlink" Target="https://www.ibm.com/support/pages/lifecycle/search?q=ibm%20mq" TargetMode="Externa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bm.com/support/pages/lifecycle/search?q=ibm%20api%20connect" TargetMode="Externa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4.png"/><Relationship Id="rId4" Type="http://schemas.openxmlformats.org/officeDocument/2006/relationships/image" Target="../media/image41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bm.com/support/pages/lifecycle/search?q=ibm%20api%20connect" TargetMode="Externa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1.png"/><Relationship Id="rId5" Type="http://schemas.openxmlformats.org/officeDocument/2006/relationships/image" Target="../media/image45.png"/><Relationship Id="rId4" Type="http://schemas.openxmlformats.org/officeDocument/2006/relationships/hyperlink" Target="https://www.ibm.com/support/pages/lifecycle/search?q=ibm%20event%20automation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1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bm.com/support/pages/lifecycle/search/?q=aspera" TargetMode="Externa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6.png"/><Relationship Id="rId4" Type="http://schemas.openxmlformats.org/officeDocument/2006/relationships/image" Target="../media/image41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bm.com/support/pages/lifecycle/search/?q=aspera" TargetMode="Externa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7.png"/><Relationship Id="rId4" Type="http://schemas.openxmlformats.org/officeDocument/2006/relationships/image" Target="../media/image41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ibm.com/br-pt/cloud-paks" TargetMode="External"/><Relationship Id="rId13" Type="http://schemas.openxmlformats.org/officeDocument/2006/relationships/image" Target="../media/image48.png"/><Relationship Id="rId3" Type="http://schemas.openxmlformats.org/officeDocument/2006/relationships/hyperlink" Target="https://www.ibm.com/products/app-connect" TargetMode="External"/><Relationship Id="rId7" Type="http://schemas.openxmlformats.org/officeDocument/2006/relationships/hyperlink" Target="https://www.ibm.com/products/datapower-gateway" TargetMode="External"/><Relationship Id="rId12" Type="http://schemas.openxmlformats.org/officeDocument/2006/relationships/hyperlink" Target="https://www.ibm.com/docs/en/rpa/23.0?topic=server-installing-rpa-other-cloud-paks" TargetMode="External"/><Relationship Id="rId2" Type="http://schemas.openxmlformats.org/officeDocument/2006/relationships/hyperlink" Target="https://www.ibm.com/products/api-connect" TargetMode="External"/><Relationship Id="rId16" Type="http://schemas.openxmlformats.org/officeDocument/2006/relationships/hyperlink" Target="https://www.ibm.com/products/process-mining" TargetMode="External"/><Relationship Id="rId1" Type="http://schemas.openxmlformats.org/officeDocument/2006/relationships/slideLayout" Target="../slideLayouts/slideLayout22.xml"/><Relationship Id="rId6" Type="http://schemas.openxmlformats.org/officeDocument/2006/relationships/hyperlink" Target="https://www.ibm.com/products/aspera" TargetMode="External"/><Relationship Id="rId11" Type="http://schemas.openxmlformats.org/officeDocument/2006/relationships/hyperlink" Target="https://www.ibm.com/docs/pt-br/process-mining/1.14.4?topic=installation-installing-process-mining-in-cloud-pak" TargetMode="External"/><Relationship Id="rId5" Type="http://schemas.openxmlformats.org/officeDocument/2006/relationships/hyperlink" Target="https://www.ibm.com/products/mq" TargetMode="External"/><Relationship Id="rId15" Type="http://schemas.openxmlformats.org/officeDocument/2006/relationships/hyperlink" Target="https://www.ibm.com/br-pt/products/robotic-process-automation" TargetMode="External"/><Relationship Id="rId10" Type="http://schemas.openxmlformats.org/officeDocument/2006/relationships/hyperlink" Target="https://www.ibm.com/docs/en/cloud-paks/cp-integration/2023.4?topic=planning-licensing" TargetMode="External"/><Relationship Id="rId4" Type="http://schemas.openxmlformats.org/officeDocument/2006/relationships/hyperlink" Target="https://www.ibm.com/products/event-automation" TargetMode="External"/><Relationship Id="rId9" Type="http://schemas.openxmlformats.org/officeDocument/2006/relationships/hyperlink" Target="https://www.ibm.com/integration" TargetMode="External"/><Relationship Id="rId14" Type="http://schemas.openxmlformats.org/officeDocument/2006/relationships/image" Target="../media/image49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0.xml"/><Relationship Id="rId5" Type="http://schemas.openxmlformats.org/officeDocument/2006/relationships/hyperlink" Target="mailto:alexandre.zanetti@br.ibm.com" TargetMode="External"/><Relationship Id="rId4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0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9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10" Type="http://schemas.openxmlformats.org/officeDocument/2006/relationships/image" Target="../media/image19.png"/><Relationship Id="rId4" Type="http://schemas.openxmlformats.org/officeDocument/2006/relationships/image" Target="../media/image13.png"/><Relationship Id="rId9" Type="http://schemas.openxmlformats.org/officeDocument/2006/relationships/image" Target="../media/image1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1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hyperlink" Target="https://ideas.ibm.com/ideas/MESNS-I-645" TargetMode="Externa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05" name="Picture" descr="Picture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9451" y="6277006"/>
            <a:ext cx="584201" cy="231615"/>
          </a:xfrm>
          <a:prstGeom prst="rect">
            <a:avLst/>
          </a:prstGeom>
          <a:ln w="12700">
            <a:miter lim="400000"/>
          </a:ln>
        </p:spPr>
      </p:pic>
      <p:sp>
        <p:nvSpPr>
          <p:cNvPr id="9" name="Title 3">
            <a:extLst>
              <a:ext uri="{FF2B5EF4-FFF2-40B4-BE49-F238E27FC236}">
                <a16:creationId xmlns:a16="http://schemas.microsoft.com/office/drawing/2014/main" id="{1FB80CAE-56CE-204B-59E2-470DD56211D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98388" y="841234"/>
            <a:ext cx="5619212" cy="3163607"/>
          </a:xfrm>
        </p:spPr>
        <p:txBody>
          <a:bodyPr>
            <a:normAutofit/>
          </a:bodyPr>
          <a:lstStyle/>
          <a:p>
            <a:pPr algn="ctr"/>
            <a:r>
              <a:rPr lang="en-US" dirty="0"/>
              <a:t>IBM </a:t>
            </a:r>
            <a:br>
              <a:rPr lang="en-US" dirty="0"/>
            </a:br>
            <a:br>
              <a:rPr lang="en-US" dirty="0"/>
            </a:br>
            <a:r>
              <a:rPr lang="en-US" sz="3200" dirty="0" err="1"/>
              <a:t>Resumo</a:t>
            </a:r>
            <a:r>
              <a:rPr lang="en-US" sz="3200" dirty="0"/>
              <a:t> </a:t>
            </a:r>
            <a:r>
              <a:rPr lang="en-US" sz="3200" dirty="0" err="1"/>
              <a:t>Executivo</a:t>
            </a:r>
            <a:br>
              <a:rPr lang="en-US" sz="3200" dirty="0"/>
            </a:br>
            <a:r>
              <a:rPr lang="en-US" sz="3200" dirty="0"/>
              <a:t>Contas Enterprise - Strategic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DED6049-C5E9-C4E2-9AFE-E17E79244F6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247" t="1553" r="5237" b="2378"/>
          <a:stretch/>
        </p:blipFill>
        <p:spPr>
          <a:xfrm>
            <a:off x="568282" y="4862520"/>
            <a:ext cx="974725" cy="97155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85CC9460-4912-3906-F099-586FECD86DEB}"/>
              </a:ext>
            </a:extLst>
          </p:cNvPr>
          <p:cNvSpPr txBox="1"/>
          <p:nvPr/>
        </p:nvSpPr>
        <p:spPr>
          <a:xfrm>
            <a:off x="1598782" y="4812709"/>
            <a:ext cx="4293483" cy="104644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000" dirty="0">
                <a:solidFill>
                  <a:schemeClr val="bg1"/>
                </a:solidFill>
              </a:rPr>
              <a:t>Alexandre Zanetti</a:t>
            </a:r>
          </a:p>
          <a:p>
            <a:r>
              <a:rPr lang="pt-BR" sz="1400" dirty="0">
                <a:solidFill>
                  <a:schemeClr val="bg1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lexandre.zanetti@br.ibm.com</a:t>
            </a:r>
            <a:endParaRPr lang="pt-BR" sz="1400" dirty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55 (11) 98539-4632</a:t>
            </a:r>
          </a:p>
          <a:p>
            <a:r>
              <a:rPr lang="en-US" sz="1400" dirty="0">
                <a:solidFill>
                  <a:schemeClr val="bg1"/>
                </a:solidFill>
                <a:effectLst/>
              </a:rPr>
              <a:t>Advisory Customer Success Manager Technical Specialis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D44CC79-D79C-BF0C-82C8-75A442AF8EFE}"/>
              </a:ext>
            </a:extLst>
          </p:cNvPr>
          <p:cNvSpPr txBox="1"/>
          <p:nvPr/>
        </p:nvSpPr>
        <p:spPr>
          <a:xfrm>
            <a:off x="3630027" y="6323955"/>
            <a:ext cx="230223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 dirty="0">
                <a:solidFill>
                  <a:schemeClr val="bg1"/>
                </a:solidFill>
                <a:latin typeface="IBM Plex Sans" panose="020B0503050203000203" pitchFamily="34" charset="0"/>
              </a:rPr>
              <a:t>Q4 22 </a:t>
            </a:r>
            <a:r>
              <a:rPr lang="en-US" i="1" dirty="0" err="1">
                <a:solidFill>
                  <a:schemeClr val="bg1"/>
                </a:solidFill>
                <a:latin typeface="IBM Plex Sans" panose="020B0503050203000203" pitchFamily="34" charset="0"/>
              </a:rPr>
              <a:t>Outubro</a:t>
            </a:r>
            <a:r>
              <a:rPr lang="en-US" i="1" dirty="0">
                <a:solidFill>
                  <a:schemeClr val="bg1"/>
                </a:solidFill>
                <a:latin typeface="IBM Plex Sans" panose="020B0503050203000203" pitchFamily="34" charset="0"/>
              </a:rPr>
              <a:t> 2025</a:t>
            </a: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454A3E54-B978-F6A0-F24D-91B575DF73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4519" y="1711729"/>
            <a:ext cx="3670499" cy="3670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65198220"/>
      </p:ext>
    </p:extLst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B876DFEE-F4BB-95C4-F0C3-B156092B46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" name="Rectangle 4">
            <a:extLst>
              <a:ext uri="{FF2B5EF4-FFF2-40B4-BE49-F238E27FC236}">
                <a16:creationId xmlns:a16="http://schemas.microsoft.com/office/drawing/2014/main" id="{863D7D75-A156-1E92-AD4D-82E0EE5CD7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BBEC1AD-D2D1-AFC7-2254-5F3EA73F26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90DBD65-3E48-364A-752F-29D4DCFE1E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6EA1B64-D547-4765-76FF-895A2C0FB3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938D38A-0E35-2419-43F2-CC79ECDED5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0C320F9-D238-CEC2-06C5-E3ADD9534830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odutizacao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do IPSec  09/04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JWT/Token no MQ  21/05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Workshop MQ x Kafka  TBD</a:t>
            </a:r>
          </a:p>
          <a:p>
            <a:pPr marL="0" lvl="2" algn="just"/>
            <a:endParaRPr lang="pt-BR" sz="1100" dirty="0">
              <a:solidFill>
                <a:schemeClr val="tx1"/>
              </a:solidFill>
              <a:highlight>
                <a:srgbClr val="00FF00"/>
              </a:highlight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DDA2687-7046-5E94-AB55-A269BF86973C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22DBF5B-D60A-683E-6EEC-8AA9185B7D62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 Automation</a:t>
            </a:r>
            <a:endParaRPr lang="pt-BR" sz="14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00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miani / </a:t>
            </a:r>
            <a:r>
              <a:rPr lang="en-US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biá</a:t>
            </a:r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/ Pedrero</a:t>
            </a:r>
            <a:endParaRPr 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>
              <a:lnSpc>
                <a:spcPct val="100000"/>
              </a:lnSpc>
            </a:pPr>
            <a:endParaRPr lang="en-US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/>
            <a:r>
              <a:rPr lang="en-US" sz="700" dirty="0">
                <a:solidFill>
                  <a:schemeClr val="tx1"/>
                </a:solidFill>
              </a:rPr>
              <a:t>11/03/2025, </a:t>
            </a:r>
            <a:r>
              <a:rPr lang="pt-BR" sz="700" dirty="0">
                <a:solidFill>
                  <a:schemeClr val="tx1"/>
                </a:solidFill>
              </a:rPr>
              <a:t>09/04/2025,</a:t>
            </a:r>
          </a:p>
          <a:p>
            <a:pPr marL="0" lvl="2" algn="ctr"/>
            <a:r>
              <a:rPr lang="pt-BR" sz="700" dirty="0">
                <a:solidFill>
                  <a:schemeClr val="tx1"/>
                </a:solidFill>
              </a:rPr>
              <a:t>21/05/2025, 16/06/2025,</a:t>
            </a:r>
          </a:p>
          <a:p>
            <a:pPr marL="0" lvl="2" algn="ctr"/>
            <a:r>
              <a:rPr lang="pt-BR" sz="700" dirty="0">
                <a:solidFill>
                  <a:schemeClr val="tx1"/>
                </a:solidFill>
              </a:rPr>
              <a:t>02/07/2025, 23/07/2025,</a:t>
            </a:r>
          </a:p>
          <a:p>
            <a:pPr marL="0" lvl="2" algn="ctr"/>
            <a:r>
              <a:rPr lang="pt-BR" sz="700" dirty="0">
                <a:solidFill>
                  <a:schemeClr val="tx1"/>
                </a:solidFill>
              </a:rPr>
              <a:t>13/08/2025, 27/08/2025,</a:t>
            </a:r>
          </a:p>
          <a:p>
            <a:pPr marL="0" lvl="2" algn="ctr"/>
            <a:r>
              <a:rPr lang="pt-BR" sz="700" dirty="0">
                <a:solidFill>
                  <a:schemeClr val="tx1"/>
                </a:solidFill>
              </a:rPr>
              <a:t>03/09/2025, 10/09/2025,</a:t>
            </a:r>
          </a:p>
          <a:p>
            <a:pPr marL="0" lvl="2" algn="ctr"/>
            <a:r>
              <a:rPr lang="pt-BR" sz="9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22/10/2025</a:t>
            </a:r>
          </a:p>
          <a:p>
            <a:pPr marL="0" lvl="2" algn="ctr"/>
            <a:endParaRPr lang="pt-BR" sz="10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</p:txBody>
      </p:sp>
      <p:sp>
        <p:nvSpPr>
          <p:cNvPr id="48" name="Title 1">
            <a:extLst>
              <a:ext uri="{FF2B5EF4-FFF2-40B4-BE49-F238E27FC236}">
                <a16:creationId xmlns:a16="http://schemas.microsoft.com/office/drawing/2014/main" id="{FC70FF1F-AB8A-C3B2-3120-9FA37E18432E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26A92704-32FA-CBC6-7540-D7F34F23DE68}"/>
              </a:ext>
            </a:extLst>
          </p:cNvPr>
          <p:cNvGrpSpPr/>
          <p:nvPr/>
        </p:nvGrpSpPr>
        <p:grpSpPr>
          <a:xfrm>
            <a:off x="131121" y="104706"/>
            <a:ext cx="1164886" cy="1267044"/>
            <a:chOff x="638224" y="71121"/>
            <a:chExt cx="1164886" cy="126704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F6C8B37D-FE8F-E057-9F55-7257FA6D115B}"/>
                </a:ext>
              </a:extLst>
            </p:cNvPr>
            <p:cNvSpPr/>
            <p:nvPr/>
          </p:nvSpPr>
          <p:spPr>
            <a:xfrm>
              <a:off x="638224" y="71121"/>
              <a:ext cx="1164886" cy="126704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r>
                <a:rPr lang="pt-BR" sz="1100" b="1" dirty="0">
                  <a:solidFill>
                    <a:schemeClr val="tx1"/>
                  </a:solidFill>
                </a:rPr>
                <a:t>IBM Event Automation</a:t>
              </a:r>
              <a:endParaRPr lang="en-US" sz="1100" b="1" dirty="0">
                <a:solidFill>
                  <a:schemeClr val="tx1"/>
                </a:solidFill>
              </a:endParaRPr>
            </a:p>
          </p:txBody>
        </p:sp>
        <p:pic>
          <p:nvPicPr>
            <p:cNvPr id="6" name="Picture 2" descr="AWS Marketplace: IBM Event Automation (software)">
              <a:extLst>
                <a:ext uri="{FF2B5EF4-FFF2-40B4-BE49-F238E27FC236}">
                  <a16:creationId xmlns:a16="http://schemas.microsoft.com/office/drawing/2014/main" id="{A6E9F4D1-C88F-A69F-FE26-C259B916EEF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9686" y="116090"/>
              <a:ext cx="914997" cy="86117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CE90B62B-273E-6DDF-F310-20DEC4160055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8F907BC2-6B16-19E4-C74D-29F5149B5BAB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16D2B9C8-3938-0557-7D05-644F94617DC2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5CC490E-0E1A-FC1E-E307-CC4DBE4E37F4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43DF6B22-3E91-C067-5409-8A30BD51BCD4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agenda com time Kafka do Itaú (Sabiá/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edrero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)</a:t>
              </a:r>
              <a:endParaRPr lang="pt-BR" sz="700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pt-BR" sz="700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6105204D-BA0B-72FD-2BE4-90C13A8363AA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agenda com time Kafka do Itaú (Sabiá/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edrero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)</a:t>
              </a:r>
              <a:endParaRPr lang="pt-BR" sz="700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0BABF55A-1777-D3AF-690B-9C1FDD1D0209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agenda com time Kafka do Itaú (Sabiá/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edrero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)</a:t>
              </a:r>
              <a:endParaRPr lang="pt-BR" sz="700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EEEB4F97-70A8-0BE2-DD0A-7377CD9762D1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68" name="Straight Arrow Connector 4">
                <a:extLst>
                  <a:ext uri="{FF2B5EF4-FFF2-40B4-BE49-F238E27FC236}">
                    <a16:creationId xmlns:a16="http://schemas.microsoft.com/office/drawing/2014/main" id="{FD7BA099-C91A-8F4C-5E56-FA24A679E4B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9" name="Oval 6">
                <a:extLst>
                  <a:ext uri="{FF2B5EF4-FFF2-40B4-BE49-F238E27FC236}">
                    <a16:creationId xmlns:a16="http://schemas.microsoft.com/office/drawing/2014/main" id="{3B2E668E-A7F8-B224-31AB-08EB36B6B8FA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70" name="Oval 6">
                <a:extLst>
                  <a:ext uri="{FF2B5EF4-FFF2-40B4-BE49-F238E27FC236}">
                    <a16:creationId xmlns:a16="http://schemas.microsoft.com/office/drawing/2014/main" id="{800C6AD3-70DB-8301-D9F2-B1FF6019A09A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71" name="Group 70">
                <a:extLst>
                  <a:ext uri="{FF2B5EF4-FFF2-40B4-BE49-F238E27FC236}">
                    <a16:creationId xmlns:a16="http://schemas.microsoft.com/office/drawing/2014/main" id="{4DF34705-6976-F9FE-691C-A9CB9133FA4F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73" name="Rectangle 72">
                  <a:extLst>
                    <a:ext uri="{FF2B5EF4-FFF2-40B4-BE49-F238E27FC236}">
                      <a16:creationId xmlns:a16="http://schemas.microsoft.com/office/drawing/2014/main" id="{2B50D29F-E327-0FE6-3C03-F96D4577CF4F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ul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74" name="Rectangle 73">
                  <a:extLst>
                    <a:ext uri="{FF2B5EF4-FFF2-40B4-BE49-F238E27FC236}">
                      <a16:creationId xmlns:a16="http://schemas.microsoft.com/office/drawing/2014/main" id="{F48D90B7-37C2-36FA-AB09-FE197D2CAAF4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Ago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75" name="Rectangle 74">
                  <a:extLst>
                    <a:ext uri="{FF2B5EF4-FFF2-40B4-BE49-F238E27FC236}">
                      <a16:creationId xmlns:a16="http://schemas.microsoft.com/office/drawing/2014/main" id="{B905FA01-8349-0971-F2DF-31C3EF970E0F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Set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72" name="Oval 6">
                <a:extLst>
                  <a:ext uri="{FF2B5EF4-FFF2-40B4-BE49-F238E27FC236}">
                    <a16:creationId xmlns:a16="http://schemas.microsoft.com/office/drawing/2014/main" id="{4E840AED-C1F2-2607-ED75-42E8A8CFC1A0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D17E591F-1B2D-E9C4-DED9-4534D2C0F731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A2152007-8B01-4E85-0E99-C0452B4D9883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8492E134-105F-D8D3-65C3-AD3C18FAAB0F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48268944-49C7-E857-A8D6-9154D0C3A4E5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agenda com time Kafka do Itaú (Sabiá/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edrero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)</a:t>
              </a:r>
              <a:endParaRPr lang="pt-BR" sz="700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E2E7351D-23B5-5478-0DA4-98595EEBA6B1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92F76E10-7670-2451-6C63-6CDCCE95A2CE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</p:txBody>
        </p: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7D18B550-6D50-4499-C093-DE9BE26F1D5F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60" name="Straight Arrow Connector 4">
                <a:extLst>
                  <a:ext uri="{FF2B5EF4-FFF2-40B4-BE49-F238E27FC236}">
                    <a16:creationId xmlns:a16="http://schemas.microsoft.com/office/drawing/2014/main" id="{1E9D868E-864C-8688-9551-BA61610DA12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1" name="Oval 6">
                <a:extLst>
                  <a:ext uri="{FF2B5EF4-FFF2-40B4-BE49-F238E27FC236}">
                    <a16:creationId xmlns:a16="http://schemas.microsoft.com/office/drawing/2014/main" id="{1E4B8CF9-7A38-A17D-3E91-203ABBB7B53B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2" name="Oval 6">
                <a:extLst>
                  <a:ext uri="{FF2B5EF4-FFF2-40B4-BE49-F238E27FC236}">
                    <a16:creationId xmlns:a16="http://schemas.microsoft.com/office/drawing/2014/main" id="{453E6159-0141-F739-95C1-33271832FBF5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63" name="Group 62">
                <a:extLst>
                  <a:ext uri="{FF2B5EF4-FFF2-40B4-BE49-F238E27FC236}">
                    <a16:creationId xmlns:a16="http://schemas.microsoft.com/office/drawing/2014/main" id="{4C9ABE26-64AA-EC00-9A15-77C529323AB6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65" name="Rectangle 64">
                  <a:extLst>
                    <a:ext uri="{FF2B5EF4-FFF2-40B4-BE49-F238E27FC236}">
                      <a16:creationId xmlns:a16="http://schemas.microsoft.com/office/drawing/2014/main" id="{393A6C7C-45E9-B3DD-7409-1F88608A113B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>
                      <a:solidFill>
                        <a:srgbClr val="1D3649"/>
                      </a:solidFill>
                    </a:rPr>
                    <a:t>Out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66" name="Rectangle 65">
                  <a:extLst>
                    <a:ext uri="{FF2B5EF4-FFF2-40B4-BE49-F238E27FC236}">
                      <a16:creationId xmlns:a16="http://schemas.microsoft.com/office/drawing/2014/main" id="{C870B983-0753-10A3-F971-1233457166D4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No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67" name="Rectangle 66">
                  <a:extLst>
                    <a:ext uri="{FF2B5EF4-FFF2-40B4-BE49-F238E27FC236}">
                      <a16:creationId xmlns:a16="http://schemas.microsoft.com/office/drawing/2014/main" id="{62F7B321-F20E-D98D-9D0C-25586CBD2818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Dez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64" name="Oval 6">
                <a:extLst>
                  <a:ext uri="{FF2B5EF4-FFF2-40B4-BE49-F238E27FC236}">
                    <a16:creationId xmlns:a16="http://schemas.microsoft.com/office/drawing/2014/main" id="{6A635C99-EF6C-9C07-38E8-0D1F2997288D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6626991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78E0FA59-C236-7A5A-5825-D18EF39AB7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" name="Rectangle 4">
            <a:extLst>
              <a:ext uri="{FF2B5EF4-FFF2-40B4-BE49-F238E27FC236}">
                <a16:creationId xmlns:a16="http://schemas.microsoft.com/office/drawing/2014/main" id="{BCB0810D-B281-CB21-EDB2-EF46363377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D5E6043-0757-924D-13C0-C52754B222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41B176D-45ED-DD4E-D320-7FFF34AF27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B94671D-07DC-9673-4843-F8C4EC8C2E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1424AFA-CF74-4BB6-AA1F-269737E0C22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DB95CB9-17E2-12E9-6CDB-21E389A7B5D2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0" lvl="2" algn="just"/>
            <a:endParaRPr lang="pt-BR" sz="1100" dirty="0">
              <a:solidFill>
                <a:schemeClr val="tx1"/>
              </a:solidFill>
              <a:highlight>
                <a:srgbClr val="00FF00"/>
              </a:highlight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highlight>
                <a:srgbClr val="00FF00"/>
              </a:highlight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highlight>
                <a:srgbClr val="00FF00"/>
              </a:highlight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highlight>
                <a:srgbClr val="00FF00"/>
              </a:highlight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L</a:t>
            </a: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7D9BBF5-8413-A3F8-55C6-8267E0E24F19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D3E6C24-C600-EDF5-FE96-CC9CA4E0660D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808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400" b="1" dirty="0" err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808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Aspera</a:t>
            </a:r>
            <a:endParaRPr lang="pt-BR" sz="14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8080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BC</a:t>
            </a:r>
            <a:endParaRPr 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/>
            <a:r>
              <a:rPr lang="en-US" sz="12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09/05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14/05/2025</a:t>
            </a:r>
          </a:p>
          <a:p>
            <a:pPr marL="0" lvl="2" algn="ctr"/>
            <a:r>
              <a:rPr lang="pt-BR" sz="12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6/06/2025</a:t>
            </a:r>
          </a:p>
          <a:p>
            <a:pPr marL="0" lvl="2" algn="ctr"/>
            <a:endParaRPr lang="pt-BR" sz="12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C82FB6F2-82AE-2F5B-3DB9-00D912B5414E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F6FCA8D6-2E18-AD0B-7C7D-FD794E6C10ED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4F8E85BD-0218-3558-4011-6DA5782B490C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1203FBFF-04F4-695D-ACFC-FF35DB8DE6CA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47D183D6-A530-5278-BEA3-F43FF8BE8ECF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descobrir caso de uso</a:t>
              </a:r>
              <a:endPara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BAD4C948-5468-221D-166A-CD899DB564DE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8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descobrir caso de uso</a:t>
              </a:r>
              <a:endParaRPr lang="en-US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en-US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16A9AEA1-9A4C-F748-69D8-B0CB2EBECEA8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8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descobrir caso de uso</a:t>
              </a:r>
              <a:endParaRPr lang="en-US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D09DE3D9-4918-793F-EC2A-23176A6D2CDD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40" name="Straight Arrow Connector 4">
                <a:extLst>
                  <a:ext uri="{FF2B5EF4-FFF2-40B4-BE49-F238E27FC236}">
                    <a16:creationId xmlns:a16="http://schemas.microsoft.com/office/drawing/2014/main" id="{E9910524-32CE-2FFD-70DD-239E05F021D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" name="Oval 6">
                <a:extLst>
                  <a:ext uri="{FF2B5EF4-FFF2-40B4-BE49-F238E27FC236}">
                    <a16:creationId xmlns:a16="http://schemas.microsoft.com/office/drawing/2014/main" id="{2045F14F-B6F5-A25E-C8AA-A6E524342205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2" name="Oval 6">
                <a:extLst>
                  <a:ext uri="{FF2B5EF4-FFF2-40B4-BE49-F238E27FC236}">
                    <a16:creationId xmlns:a16="http://schemas.microsoft.com/office/drawing/2014/main" id="{6ECC9496-8620-EB9B-D59F-8FDC4DD803F8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9FC86DFE-5BC6-8DF4-F925-124801517890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5" name="Rectangle 44">
                  <a:extLst>
                    <a:ext uri="{FF2B5EF4-FFF2-40B4-BE49-F238E27FC236}">
                      <a16:creationId xmlns:a16="http://schemas.microsoft.com/office/drawing/2014/main" id="{AFF2EBB0-481D-417F-2371-23F635DF826D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an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46" name="Rectangle 45">
                  <a:extLst>
                    <a:ext uri="{FF2B5EF4-FFF2-40B4-BE49-F238E27FC236}">
                      <a16:creationId xmlns:a16="http://schemas.microsoft.com/office/drawing/2014/main" id="{3C4C96C9-93A5-D3A4-B34C-A16D6B996030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Fe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A4EBD6E4-E132-BCA3-3E61-869D4FDC16F0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r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44" name="Oval 6">
                <a:extLst>
                  <a:ext uri="{FF2B5EF4-FFF2-40B4-BE49-F238E27FC236}">
                    <a16:creationId xmlns:a16="http://schemas.microsoft.com/office/drawing/2014/main" id="{5BB8C42A-4C9A-956F-F803-8C6922BF588D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66819D3D-606B-8121-1905-39DCF5F5C9FC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2F61606C-FFB3-D80E-7DA5-5E7C29A943D7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5298C0AD-BF80-A291-8C3B-DCCADFD675E2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D7342A6D-203F-01A7-208F-97F700E5374A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8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VP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ransfer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Files (Upgrade Veritas)</a:t>
              </a:r>
            </a:p>
            <a:p>
              <a:pPr marL="287338" lvl="3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EL explicou pedido do banco</a:t>
              </a:r>
            </a:p>
            <a:p>
              <a:pPr marL="287338" lvl="3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lano de custo/solução</a:t>
              </a:r>
              <a:endPara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0B89EA06-D9D1-02B6-09A4-800E17FDE657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8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VP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ransfer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Files (Upgrade Veritas)</a:t>
              </a:r>
            </a:p>
            <a:p>
              <a:pPr marL="287338" lvl="3" indent="-115888" algn="just">
                <a:buFont typeface="Arial" panose="020B0604020202020204" pitchFamily="34" charset="0"/>
                <a:buChar char="•"/>
              </a:pPr>
              <a:r>
                <a:rPr lang="pt-BR" sz="7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lano de custo/solução  Erick OK 09/05</a:t>
              </a:r>
            </a:p>
            <a:p>
              <a:pPr marL="287338" lvl="3" indent="-115888" algn="just">
                <a:buFont typeface="Arial" panose="020B0604020202020204" pitchFamily="34" charset="0"/>
                <a:buChar char="•"/>
              </a:pPr>
              <a:r>
                <a:rPr lang="pt-BR" sz="7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lano de apresentação EL  OK 14/05</a:t>
              </a:r>
              <a:endParaRPr lang="en-US" sz="700" strike="sngStrik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pt-BR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8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VP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ransfer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Files (Upgrade Veritas)</a:t>
              </a:r>
            </a:p>
            <a:p>
              <a:pPr marL="287338" lvl="3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OC</a:t>
              </a:r>
              <a:endPara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EE523B33-5D0C-4EE1-CD90-3C28B6202B61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8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VP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ransfer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Files (Upgrade Veritas)</a:t>
              </a:r>
            </a:p>
            <a:p>
              <a:pPr marL="287338" lvl="3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OC</a:t>
              </a:r>
              <a:endPara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pt-BR" sz="700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467BD042-0EFF-625A-9A60-09BFA3C04F1A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32" name="Straight Arrow Connector 4">
                <a:extLst>
                  <a:ext uri="{FF2B5EF4-FFF2-40B4-BE49-F238E27FC236}">
                    <a16:creationId xmlns:a16="http://schemas.microsoft.com/office/drawing/2014/main" id="{B8EEF3BA-C344-FD27-DDB5-50FCCD60372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3" name="Oval 6">
                <a:extLst>
                  <a:ext uri="{FF2B5EF4-FFF2-40B4-BE49-F238E27FC236}">
                    <a16:creationId xmlns:a16="http://schemas.microsoft.com/office/drawing/2014/main" id="{D917A5CA-BE8A-0935-D1B3-85E1B8FCA33F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4" name="Oval 6">
                <a:extLst>
                  <a:ext uri="{FF2B5EF4-FFF2-40B4-BE49-F238E27FC236}">
                    <a16:creationId xmlns:a16="http://schemas.microsoft.com/office/drawing/2014/main" id="{DD715DF8-A8E3-DE54-46B0-7489C5485766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35" name="Group 34">
                <a:extLst>
                  <a:ext uri="{FF2B5EF4-FFF2-40B4-BE49-F238E27FC236}">
                    <a16:creationId xmlns:a16="http://schemas.microsoft.com/office/drawing/2014/main" id="{E09A0A21-FA9D-A6D8-EE8F-74CF1AF97186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37" name="Rectangle 36">
                  <a:extLst>
                    <a:ext uri="{FF2B5EF4-FFF2-40B4-BE49-F238E27FC236}">
                      <a16:creationId xmlns:a16="http://schemas.microsoft.com/office/drawing/2014/main" id="{1F5147F9-495D-D73E-9DA9-ABBABC5427FF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 err="1">
                      <a:solidFill>
                        <a:srgbClr val="1D3649"/>
                      </a:solidFill>
                    </a:rPr>
                    <a:t>Abr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38" name="Rectangle 37">
                  <a:extLst>
                    <a:ext uri="{FF2B5EF4-FFF2-40B4-BE49-F238E27FC236}">
                      <a16:creationId xmlns:a16="http://schemas.microsoft.com/office/drawing/2014/main" id="{176EBC6A-6FA2-E316-1FBC-F829B19AEBBB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i/25</a:t>
                  </a:r>
                  <a:endParaRPr lang="en-US" dirty="0"/>
                </a:p>
              </p:txBody>
            </p:sp>
            <p:sp>
              <p:nvSpPr>
                <p:cNvPr id="39" name="Rectangle 38">
                  <a:extLst>
                    <a:ext uri="{FF2B5EF4-FFF2-40B4-BE49-F238E27FC236}">
                      <a16:creationId xmlns:a16="http://schemas.microsoft.com/office/drawing/2014/main" id="{C7CEA072-9FC4-3A41-261C-9CB9D4771D68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Jun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36" name="Oval 6">
                <a:extLst>
                  <a:ext uri="{FF2B5EF4-FFF2-40B4-BE49-F238E27FC236}">
                    <a16:creationId xmlns:a16="http://schemas.microsoft.com/office/drawing/2014/main" id="{7A159C64-A2E8-4033-5802-50DA0D2CC6AE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48" name="Title 1">
            <a:extLst>
              <a:ext uri="{FF2B5EF4-FFF2-40B4-BE49-F238E27FC236}">
                <a16:creationId xmlns:a16="http://schemas.microsoft.com/office/drawing/2014/main" id="{D92BCCD2-3A2A-D451-79A1-DF46834229A9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65EA2985-6653-DD7B-D1FA-3B0D1FA96E72}"/>
              </a:ext>
            </a:extLst>
          </p:cNvPr>
          <p:cNvGrpSpPr/>
          <p:nvPr/>
        </p:nvGrpSpPr>
        <p:grpSpPr>
          <a:xfrm>
            <a:off x="145159" y="106980"/>
            <a:ext cx="1164886" cy="1267044"/>
            <a:chOff x="638224" y="71121"/>
            <a:chExt cx="1164886" cy="1267044"/>
          </a:xfrm>
        </p:grpSpPr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E3D28539-E8A2-BC1C-EFB5-5DFA8DA2835B}"/>
                </a:ext>
              </a:extLst>
            </p:cNvPr>
            <p:cNvSpPr/>
            <p:nvPr/>
          </p:nvSpPr>
          <p:spPr>
            <a:xfrm>
              <a:off x="638224" y="71121"/>
              <a:ext cx="1164886" cy="126704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r>
                <a:rPr lang="pt-BR" sz="1100" b="1" dirty="0">
                  <a:solidFill>
                    <a:schemeClr val="tx1"/>
                  </a:solidFill>
                </a:rPr>
                <a:t>IBM </a:t>
              </a:r>
              <a:r>
                <a:rPr lang="pt-BR" sz="1100" b="1" dirty="0" err="1">
                  <a:solidFill>
                    <a:schemeClr val="tx1"/>
                  </a:solidFill>
                </a:rPr>
                <a:t>Aspera</a:t>
              </a:r>
              <a:endParaRPr lang="en-US" sz="1100" b="1" dirty="0">
                <a:solidFill>
                  <a:schemeClr val="tx1"/>
                </a:solidFill>
              </a:endParaRPr>
            </a:p>
          </p:txBody>
        </p:sp>
        <p:pic>
          <p:nvPicPr>
            <p:cNvPr id="51" name="Picture 4" descr="IBM Cloud Pak for Integration | IBM CP4I">
              <a:extLst>
                <a:ext uri="{FF2B5EF4-FFF2-40B4-BE49-F238E27FC236}">
                  <a16:creationId xmlns:a16="http://schemas.microsoft.com/office/drawing/2014/main" id="{68A52A51-4BEF-5E74-D4CF-50920BB6580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2401" t="75897" r="20339" b="13609"/>
            <a:stretch/>
          </p:blipFill>
          <p:spPr bwMode="auto">
            <a:xfrm>
              <a:off x="761823" y="159667"/>
              <a:ext cx="1041287" cy="7856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66008768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39B9236-B046-4EC7-804C-AB1AE5514E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" name="Rectangle 4">
            <a:extLst>
              <a:ext uri="{FF2B5EF4-FFF2-40B4-BE49-F238E27FC236}">
                <a16:creationId xmlns:a16="http://schemas.microsoft.com/office/drawing/2014/main" id="{39CA88D3-F832-5184-5496-2D2594BE4B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F597EC-9719-12E6-75CF-C7FE2B2F40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DC902EA-DD59-234F-7CFE-7841DA19C2D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ADD72B3-BE35-63EF-1B49-5A18D0505A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C6AB6A5-B744-BF36-94A0-A336E14204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2685B8A-90C4-0171-7F1F-2BE4587F2D36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0" lvl="2" algn="just"/>
            <a:endParaRPr lang="pt-BR" sz="1100" dirty="0">
              <a:solidFill>
                <a:schemeClr val="tx1"/>
              </a:solidFill>
              <a:highlight>
                <a:srgbClr val="00FF00"/>
              </a:highlight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highlight>
                <a:srgbClr val="00FF00"/>
              </a:highlight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highlight>
                <a:srgbClr val="00FF00"/>
              </a:highlight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highlight>
                <a:srgbClr val="00FF00"/>
              </a:highlight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L</a:t>
            </a: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4CC7AF5-640E-9A43-0679-3853A71FB6C4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C28EA8F-0B64-5CFD-35E7-8571FA4E816E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808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400" b="1" dirty="0" err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808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Aspera</a:t>
            </a:r>
            <a:endParaRPr lang="pt-BR" sz="14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8080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BC</a:t>
            </a:r>
            <a:endParaRPr 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/>
            <a:endParaRPr lang="en-US" sz="1200" dirty="0">
              <a:solidFill>
                <a:schemeClr val="tx1"/>
              </a:solidFill>
            </a:endParaRPr>
          </a:p>
          <a:p>
            <a:pPr marL="0" lvl="2" algn="ctr"/>
            <a:r>
              <a:rPr lang="en-US" sz="800" dirty="0">
                <a:solidFill>
                  <a:schemeClr val="tx1"/>
                </a:solidFill>
              </a:rPr>
              <a:t>11/03/2025, </a:t>
            </a:r>
            <a:r>
              <a:rPr lang="pt-BR" sz="800" dirty="0">
                <a:solidFill>
                  <a:schemeClr val="tx1"/>
                </a:solidFill>
              </a:rPr>
              <a:t>09/04/2025,</a:t>
            </a:r>
          </a:p>
          <a:p>
            <a:pPr marL="0" lvl="2" algn="ctr"/>
            <a:r>
              <a:rPr lang="pt-BR" sz="800" dirty="0">
                <a:solidFill>
                  <a:schemeClr val="tx1"/>
                </a:solidFill>
              </a:rPr>
              <a:t>21/05/2025, 16/06/2025,</a:t>
            </a:r>
          </a:p>
          <a:p>
            <a:pPr marL="0" lvl="2" algn="ctr"/>
            <a:r>
              <a:rPr lang="pt-BR" sz="800" dirty="0">
                <a:solidFill>
                  <a:schemeClr val="tx1"/>
                </a:solidFill>
              </a:rPr>
              <a:t>02/07/2025, 23/07/2025,</a:t>
            </a:r>
          </a:p>
          <a:p>
            <a:pPr marL="0" lvl="2" algn="ctr"/>
            <a:r>
              <a:rPr lang="pt-BR" sz="800" dirty="0">
                <a:solidFill>
                  <a:schemeClr val="tx1"/>
                </a:solidFill>
              </a:rPr>
              <a:t>13/08/2025, 27/08/2025,</a:t>
            </a:r>
          </a:p>
          <a:p>
            <a:pPr marL="0" lvl="2" algn="ctr"/>
            <a:r>
              <a:rPr lang="pt-BR" sz="800" dirty="0">
                <a:solidFill>
                  <a:schemeClr val="tx1"/>
                </a:solidFill>
              </a:rPr>
              <a:t>03/09/2025, 10/09/2025,</a:t>
            </a:r>
          </a:p>
          <a:p>
            <a:pPr marL="0" lvl="2" algn="ctr"/>
            <a:r>
              <a:rPr lang="pt-BR" sz="9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22/10/2025</a:t>
            </a:r>
          </a:p>
          <a:p>
            <a:pPr marL="0" lvl="2" algn="ctr"/>
            <a:endParaRPr lang="pt-BR" sz="105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</p:txBody>
      </p:sp>
      <p:sp>
        <p:nvSpPr>
          <p:cNvPr id="48" name="Title 1">
            <a:extLst>
              <a:ext uri="{FF2B5EF4-FFF2-40B4-BE49-F238E27FC236}">
                <a16:creationId xmlns:a16="http://schemas.microsoft.com/office/drawing/2014/main" id="{72124D6D-70FB-00B4-CC5D-500DCEB30BC0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9E84C1AD-2030-5870-E72E-B75F275B80A7}"/>
              </a:ext>
            </a:extLst>
          </p:cNvPr>
          <p:cNvGrpSpPr/>
          <p:nvPr/>
        </p:nvGrpSpPr>
        <p:grpSpPr>
          <a:xfrm>
            <a:off x="145159" y="106980"/>
            <a:ext cx="1164886" cy="1267044"/>
            <a:chOff x="638224" y="71121"/>
            <a:chExt cx="1164886" cy="1267044"/>
          </a:xfrm>
        </p:grpSpPr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E1E19879-8C79-CE36-40B0-F58C030C3719}"/>
                </a:ext>
              </a:extLst>
            </p:cNvPr>
            <p:cNvSpPr/>
            <p:nvPr/>
          </p:nvSpPr>
          <p:spPr>
            <a:xfrm>
              <a:off x="638224" y="71121"/>
              <a:ext cx="1164886" cy="126704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r>
                <a:rPr lang="pt-BR" sz="1100" b="1" dirty="0">
                  <a:solidFill>
                    <a:schemeClr val="tx1"/>
                  </a:solidFill>
                </a:rPr>
                <a:t>IBM </a:t>
              </a:r>
              <a:r>
                <a:rPr lang="pt-BR" sz="1100" b="1" dirty="0" err="1">
                  <a:solidFill>
                    <a:schemeClr val="tx1"/>
                  </a:solidFill>
                </a:rPr>
                <a:t>Aspera</a:t>
              </a:r>
              <a:endParaRPr lang="en-US" sz="1100" b="1" dirty="0">
                <a:solidFill>
                  <a:schemeClr val="tx1"/>
                </a:solidFill>
              </a:endParaRPr>
            </a:p>
          </p:txBody>
        </p:sp>
        <p:pic>
          <p:nvPicPr>
            <p:cNvPr id="51" name="Picture 4" descr="IBM Cloud Pak for Integration | IBM CP4I">
              <a:extLst>
                <a:ext uri="{FF2B5EF4-FFF2-40B4-BE49-F238E27FC236}">
                  <a16:creationId xmlns:a16="http://schemas.microsoft.com/office/drawing/2014/main" id="{631113F5-E5F1-8A24-AE7A-956D4C95195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2401" t="75897" r="20339" b="13609"/>
            <a:stretch/>
          </p:blipFill>
          <p:spPr bwMode="auto">
            <a:xfrm>
              <a:off x="761823" y="159667"/>
              <a:ext cx="1041287" cy="7856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88D268AB-965C-C250-0D1F-C33F1BB0A146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F8CD687C-FAEC-B1C5-7638-CADBEEDEEC85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C0E6D19-441B-73B1-BB37-62140F2F6991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24691070-C4A2-77C8-57A1-32ED7503EE65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B8C5B9B3-F82B-CDA6-0CEF-1C7C1C0EC81E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8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VP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ransfer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Files (Upgrade Veritas)</a:t>
              </a:r>
            </a:p>
            <a:p>
              <a:pPr marL="287338" lvl="3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Aguardando agenda para iniciar</a:t>
              </a:r>
              <a:endPara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pt-BR" sz="700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4D54B93D-E70C-11A6-3E95-3C2DA3641534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identificar caso de uso</a:t>
              </a:r>
              <a:endParaRPr lang="pt-BR" sz="700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6C9D90A7-DE59-24DD-2095-E5827D4C1051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identificar caso de uso</a:t>
              </a:r>
              <a:endParaRPr lang="pt-BR" sz="700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B6EF360E-5AD4-0AC4-420A-ADDB408F8E3C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68" name="Straight Arrow Connector 4">
                <a:extLst>
                  <a:ext uri="{FF2B5EF4-FFF2-40B4-BE49-F238E27FC236}">
                    <a16:creationId xmlns:a16="http://schemas.microsoft.com/office/drawing/2014/main" id="{DB609496-3787-5C29-6A70-896DB79B4BB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9" name="Oval 6">
                <a:extLst>
                  <a:ext uri="{FF2B5EF4-FFF2-40B4-BE49-F238E27FC236}">
                    <a16:creationId xmlns:a16="http://schemas.microsoft.com/office/drawing/2014/main" id="{28828DA6-E3C4-DEFF-29A8-278C4241E4B4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70" name="Oval 6">
                <a:extLst>
                  <a:ext uri="{FF2B5EF4-FFF2-40B4-BE49-F238E27FC236}">
                    <a16:creationId xmlns:a16="http://schemas.microsoft.com/office/drawing/2014/main" id="{A136EF49-3E01-36BA-086A-4CC6CB603D31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71" name="Group 70">
                <a:extLst>
                  <a:ext uri="{FF2B5EF4-FFF2-40B4-BE49-F238E27FC236}">
                    <a16:creationId xmlns:a16="http://schemas.microsoft.com/office/drawing/2014/main" id="{AFF4BF7F-AEDE-C43E-6405-887AE04FCADF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3" cy="317869"/>
                <a:chOff x="364804" y="3907694"/>
                <a:chExt cx="3789495" cy="317869"/>
              </a:xfrm>
              <a:noFill/>
            </p:grpSpPr>
            <p:sp>
              <p:nvSpPr>
                <p:cNvPr id="73" name="Rectangle 72">
                  <a:extLst>
                    <a:ext uri="{FF2B5EF4-FFF2-40B4-BE49-F238E27FC236}">
                      <a16:creationId xmlns:a16="http://schemas.microsoft.com/office/drawing/2014/main" id="{8AEB7F53-5E30-E2A9-FABC-C978CACA8A12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ul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74" name="Rectangle 73">
                  <a:extLst>
                    <a:ext uri="{FF2B5EF4-FFF2-40B4-BE49-F238E27FC236}">
                      <a16:creationId xmlns:a16="http://schemas.microsoft.com/office/drawing/2014/main" id="{B24973B0-3C89-ADFC-CEF4-24E0210809B7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Ago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75" name="Rectangle 74">
                  <a:extLst>
                    <a:ext uri="{FF2B5EF4-FFF2-40B4-BE49-F238E27FC236}">
                      <a16:creationId xmlns:a16="http://schemas.microsoft.com/office/drawing/2014/main" id="{5465B40A-C796-EDDB-8E57-3C671DF8E578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Set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72" name="Oval 6">
                <a:extLst>
                  <a:ext uri="{FF2B5EF4-FFF2-40B4-BE49-F238E27FC236}">
                    <a16:creationId xmlns:a16="http://schemas.microsoft.com/office/drawing/2014/main" id="{C56586C4-CC4F-6879-82AF-5987643258D9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85BE1507-87E2-E462-7592-11298DFD0FC1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23EA027F-86F1-880D-2BB9-52F5811F64CE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F2F59243-343D-EA82-253E-D4E5E9BAC1B8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1ABE4715-E03E-ACCA-0C50-6C033CA1E1DD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identificar caso de uso</a:t>
              </a:r>
              <a:endParaRPr lang="pt-BR" sz="700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8658D124-A563-2567-E45F-D4F10E93AC89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71356357-76F9-44EA-5A38-DCF522576C88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</p:txBody>
        </p: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81F310B8-40B6-550A-7EC0-B4741CD3DE2A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60" name="Straight Arrow Connector 4">
                <a:extLst>
                  <a:ext uri="{FF2B5EF4-FFF2-40B4-BE49-F238E27FC236}">
                    <a16:creationId xmlns:a16="http://schemas.microsoft.com/office/drawing/2014/main" id="{B25BA25A-3EA3-9709-FFBB-A37D6FF9295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1" name="Oval 6">
                <a:extLst>
                  <a:ext uri="{FF2B5EF4-FFF2-40B4-BE49-F238E27FC236}">
                    <a16:creationId xmlns:a16="http://schemas.microsoft.com/office/drawing/2014/main" id="{B06347A0-B8D4-5C93-D81F-F926AE2B7563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2" name="Oval 6">
                <a:extLst>
                  <a:ext uri="{FF2B5EF4-FFF2-40B4-BE49-F238E27FC236}">
                    <a16:creationId xmlns:a16="http://schemas.microsoft.com/office/drawing/2014/main" id="{DB6E0BA9-C19F-5B6E-91A0-9EEC4C38DEB7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63" name="Group 62">
                <a:extLst>
                  <a:ext uri="{FF2B5EF4-FFF2-40B4-BE49-F238E27FC236}">
                    <a16:creationId xmlns:a16="http://schemas.microsoft.com/office/drawing/2014/main" id="{A676BFAC-7028-7ADD-6BA5-7AE503421479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3" cy="317869"/>
                <a:chOff x="364804" y="3907694"/>
                <a:chExt cx="3789495" cy="317869"/>
              </a:xfrm>
              <a:noFill/>
            </p:grpSpPr>
            <p:sp>
              <p:nvSpPr>
                <p:cNvPr id="65" name="Rectangle 64">
                  <a:extLst>
                    <a:ext uri="{FF2B5EF4-FFF2-40B4-BE49-F238E27FC236}">
                      <a16:creationId xmlns:a16="http://schemas.microsoft.com/office/drawing/2014/main" id="{4A4F1AD1-6873-7B6C-492B-25327078E8C5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>
                      <a:solidFill>
                        <a:srgbClr val="1D3649"/>
                      </a:solidFill>
                    </a:rPr>
                    <a:t>Out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66" name="Rectangle 65">
                  <a:extLst>
                    <a:ext uri="{FF2B5EF4-FFF2-40B4-BE49-F238E27FC236}">
                      <a16:creationId xmlns:a16="http://schemas.microsoft.com/office/drawing/2014/main" id="{B0470F95-B712-8F18-93FA-7E41ACF722E4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No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67" name="Rectangle 66">
                  <a:extLst>
                    <a:ext uri="{FF2B5EF4-FFF2-40B4-BE49-F238E27FC236}">
                      <a16:creationId xmlns:a16="http://schemas.microsoft.com/office/drawing/2014/main" id="{123D6B85-14BB-6D57-1BE2-BF7599B59CFC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Dez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64" name="Oval 6">
                <a:extLst>
                  <a:ext uri="{FF2B5EF4-FFF2-40B4-BE49-F238E27FC236}">
                    <a16:creationId xmlns:a16="http://schemas.microsoft.com/office/drawing/2014/main" id="{8C9611E9-FA37-6585-0C52-729C2459B755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3026156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2E7707FC-0DF0-756C-DBE7-E07333B716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D5147BB0-BE53-9F58-DCA5-5ECEB6FEA5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7D9C84D-63FC-1CD5-F423-E6C90BE85B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292BF30-5C6D-F7D1-1B30-44A92EF902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28808DC-9D7E-CCC3-DC14-EE2300298B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CC054CB-1740-C720-0783-3F135CD27B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logo2-04.png" descr="logo2-04.png">
            <a:extLst>
              <a:ext uri="{FF2B5EF4-FFF2-40B4-BE49-F238E27FC236}">
                <a16:creationId xmlns:a16="http://schemas.microsoft.com/office/drawing/2014/main" id="{FD0CBFA3-FB99-F5AF-7080-CE9BB051EA8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B4CBA59E-EE64-84EA-2D15-7B446CBDE13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51147013"/>
              </p:ext>
            </p:extLst>
          </p:nvPr>
        </p:nvGraphicFramePr>
        <p:xfrm>
          <a:off x="271572" y="979164"/>
          <a:ext cx="10153650" cy="377380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63579">
                  <a:extLst>
                    <a:ext uri="{9D8B030D-6E8A-4147-A177-3AD203B41FA5}">
                      <a16:colId xmlns:a16="http://schemas.microsoft.com/office/drawing/2014/main" val="3145613429"/>
                    </a:ext>
                  </a:extLst>
                </a:gridCol>
                <a:gridCol w="928373">
                  <a:extLst>
                    <a:ext uri="{9D8B030D-6E8A-4147-A177-3AD203B41FA5}">
                      <a16:colId xmlns:a16="http://schemas.microsoft.com/office/drawing/2014/main" val="108644887"/>
                    </a:ext>
                  </a:extLst>
                </a:gridCol>
                <a:gridCol w="810228">
                  <a:extLst>
                    <a:ext uri="{9D8B030D-6E8A-4147-A177-3AD203B41FA5}">
                      <a16:colId xmlns:a16="http://schemas.microsoft.com/office/drawing/2014/main" val="610481453"/>
                    </a:ext>
                  </a:extLst>
                </a:gridCol>
                <a:gridCol w="252136">
                  <a:extLst>
                    <a:ext uri="{9D8B030D-6E8A-4147-A177-3AD203B41FA5}">
                      <a16:colId xmlns:a16="http://schemas.microsoft.com/office/drawing/2014/main" val="3814621343"/>
                    </a:ext>
                  </a:extLst>
                </a:gridCol>
                <a:gridCol w="663579">
                  <a:extLst>
                    <a:ext uri="{9D8B030D-6E8A-4147-A177-3AD203B41FA5}">
                      <a16:colId xmlns:a16="http://schemas.microsoft.com/office/drawing/2014/main" val="4147828085"/>
                    </a:ext>
                  </a:extLst>
                </a:gridCol>
                <a:gridCol w="1154113">
                  <a:extLst>
                    <a:ext uri="{9D8B030D-6E8A-4147-A177-3AD203B41FA5}">
                      <a16:colId xmlns:a16="http://schemas.microsoft.com/office/drawing/2014/main" val="3165954247"/>
                    </a:ext>
                  </a:extLst>
                </a:gridCol>
                <a:gridCol w="663579">
                  <a:extLst>
                    <a:ext uri="{9D8B030D-6E8A-4147-A177-3AD203B41FA5}">
                      <a16:colId xmlns:a16="http://schemas.microsoft.com/office/drawing/2014/main" val="718490208"/>
                    </a:ext>
                  </a:extLst>
                </a:gridCol>
                <a:gridCol w="663579">
                  <a:extLst>
                    <a:ext uri="{9D8B030D-6E8A-4147-A177-3AD203B41FA5}">
                      <a16:colId xmlns:a16="http://schemas.microsoft.com/office/drawing/2014/main" val="435269843"/>
                    </a:ext>
                  </a:extLst>
                </a:gridCol>
                <a:gridCol w="1052810">
                  <a:extLst>
                    <a:ext uri="{9D8B030D-6E8A-4147-A177-3AD203B41FA5}">
                      <a16:colId xmlns:a16="http://schemas.microsoft.com/office/drawing/2014/main" val="2541432101"/>
                    </a:ext>
                  </a:extLst>
                </a:gridCol>
                <a:gridCol w="626929">
                  <a:extLst>
                    <a:ext uri="{9D8B030D-6E8A-4147-A177-3AD203B41FA5}">
                      <a16:colId xmlns:a16="http://schemas.microsoft.com/office/drawing/2014/main" val="1869919414"/>
                    </a:ext>
                  </a:extLst>
                </a:gridCol>
                <a:gridCol w="796037">
                  <a:extLst>
                    <a:ext uri="{9D8B030D-6E8A-4147-A177-3AD203B41FA5}">
                      <a16:colId xmlns:a16="http://schemas.microsoft.com/office/drawing/2014/main" val="4171522205"/>
                    </a:ext>
                  </a:extLst>
                </a:gridCol>
                <a:gridCol w="958928">
                  <a:extLst>
                    <a:ext uri="{9D8B030D-6E8A-4147-A177-3AD203B41FA5}">
                      <a16:colId xmlns:a16="http://schemas.microsoft.com/office/drawing/2014/main" val="3168858158"/>
                    </a:ext>
                  </a:extLst>
                </a:gridCol>
                <a:gridCol w="919780">
                  <a:extLst>
                    <a:ext uri="{9D8B030D-6E8A-4147-A177-3AD203B41FA5}">
                      <a16:colId xmlns:a16="http://schemas.microsoft.com/office/drawing/2014/main" val="2451055448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stomer number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uct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se number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ype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 description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ason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ve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ghest Seve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o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en date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st altered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e closed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207839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30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 for z/OS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3"/>
                        </a:rPr>
                        <a:t>TS020175358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Open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SME Needed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8-2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9-0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6954465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30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 for z/OS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4"/>
                        </a:rPr>
                        <a:t>TS020016263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Open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IBM is working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8-0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9-0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79997597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30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5"/>
                        </a:rPr>
                        <a:t>TS020005697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Open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Waiting for IBM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8-0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9-0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8436323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30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6"/>
                        </a:rPr>
                        <a:t>TS019910892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Open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waiting your feedback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7-2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9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6064035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30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 for z/OS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7"/>
                        </a:rPr>
                        <a:t>TS019775919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Resolution Provided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7-0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8-1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8-12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62419375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30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8"/>
                        </a:rPr>
                        <a:t>TS019775283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Resolution Provided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7-0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9-0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8-13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81067333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30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9"/>
                        </a:rPr>
                        <a:t>TS019742497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7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8-1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7-18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945618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30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0"/>
                        </a:rPr>
                        <a:t>TS019707424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6-3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8-0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7-03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35973987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30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1"/>
                        </a:rPr>
                        <a:t>TS019552684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6-1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7-2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6-27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65384849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30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2"/>
                        </a:rPr>
                        <a:t>TS019378042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5-2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6-2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5-23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69700565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30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3"/>
                        </a:rPr>
                        <a:t>TS019373888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5-2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7-2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6-26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06133156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30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4"/>
                        </a:rPr>
                        <a:t>TS019363555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5-2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6-2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5-23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31596736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30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5"/>
                        </a:rPr>
                        <a:t>TS019032254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5-2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28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58298884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30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6"/>
                        </a:rPr>
                        <a:t>TS018898555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3-3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5-0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01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47407606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30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7"/>
                        </a:rPr>
                        <a:t>TS018895482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3-3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5-2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29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93965942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30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8"/>
                        </a:rPr>
                        <a:t>TS018634572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2-2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3-3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3-01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85031094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30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9"/>
                        </a:rPr>
                        <a:t>TS01842562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2-0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3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3-19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28209712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30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 for z/OS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20"/>
                        </a:rPr>
                        <a:t>TS018220590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1-0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2-1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1-13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584628210"/>
                  </a:ext>
                </a:extLst>
              </a:tr>
            </a:tbl>
          </a:graphicData>
        </a:graphic>
      </p:graphicFrame>
      <p:sp>
        <p:nvSpPr>
          <p:cNvPr id="23" name="Title 1">
            <a:extLst>
              <a:ext uri="{FF2B5EF4-FFF2-40B4-BE49-F238E27FC236}">
                <a16:creationId xmlns:a16="http://schemas.microsoft.com/office/drawing/2014/main" id="{2F973CF5-E546-9B4F-DEF6-39F4E09AB846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  <a:hlinkClick r:id="rId2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ses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- </a:t>
            </a:r>
            <a:r>
              <a:rPr lang="en-US" sz="400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  <a:hlinkClick r:id="rId2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taú</a:t>
            </a:r>
            <a:r>
              <a:rPr lang="en-US" sz="400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(0053000)</a:t>
            </a:r>
          </a:p>
        </p:txBody>
      </p:sp>
    </p:spTree>
    <p:extLst>
      <p:ext uri="{BB962C8B-B14F-4D97-AF65-F5344CB8AC3E}">
        <p14:creationId xmlns:p14="http://schemas.microsoft.com/office/powerpoint/2010/main" val="345633019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74A2155-4275-C69B-A816-F57B079449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04738240-91FB-7AF4-F9C0-CD69A859EF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5F9EBC2-F1B7-B4DB-EBE2-1011D1E7008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4093975-CB02-AE6F-C1E0-0579A2D07E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6CEAF40-FBCE-78D2-2B72-2CD4DF0CAB0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FAFA16E-76FF-DCF0-5F29-9A0716AE1F8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15" name="Rectangle 14">
            <a:extLst>
              <a:ext uri="{FF2B5EF4-FFF2-40B4-BE49-F238E27FC236}">
                <a16:creationId xmlns:a16="http://schemas.microsoft.com/office/drawing/2014/main" id="{EE3443B3-8146-56B9-7464-DACB6B1FC96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21161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3F06668-E22E-1CA6-9FDA-1F2D6722DB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2" y="21160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61F507B-DF78-9C3D-2CB9-2841BFA4E4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4" y="21161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E39C61B-8C2F-A007-FF32-59E06D5C204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8" y="21160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00C61E6-3B9B-F878-C732-6E9F00CD6FC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49" y="21160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0A647C99-AC79-FF8F-AD87-ADED38591E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8" y="315699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lang="pt-BR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Avaliação do CSM &amp; Grupos de discussões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SM evaluation &amp; Groups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E52B8BFF-9797-E153-6FCB-05811AAF91AB}"/>
              </a:ext>
            </a:extLst>
          </p:cNvPr>
          <p:cNvGrpSpPr/>
          <p:nvPr/>
        </p:nvGrpSpPr>
        <p:grpSpPr>
          <a:xfrm>
            <a:off x="1132339" y="2736610"/>
            <a:ext cx="3564355" cy="3774741"/>
            <a:chOff x="654361" y="2392188"/>
            <a:chExt cx="3564355" cy="3774741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B487A738-661B-76F4-98D3-92E75A59F30B}"/>
                </a:ext>
              </a:extLst>
            </p:cNvPr>
            <p:cNvSpPr>
              <a:spLocks/>
            </p:cNvSpPr>
            <p:nvPr/>
          </p:nvSpPr>
          <p:spPr>
            <a:xfrm>
              <a:off x="654361" y="2392188"/>
              <a:ext cx="3564355" cy="3774741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r>
                <a:rPr lang="pt-BR" dirty="0">
                  <a:solidFill>
                    <a:schemeClr val="tx1"/>
                  </a:solidFill>
                  <a:hlinkClick r:id="rId2"/>
                </a:rPr>
                <a:t>https://ibm.biz/avaliacao-csm</a:t>
              </a:r>
              <a:r>
                <a:rPr lang="pt-BR" dirty="0">
                  <a:solidFill>
                    <a:schemeClr val="tx1"/>
                  </a:solidFill>
                </a:rPr>
                <a:t> 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6F67D07C-2612-280B-2770-132F6ECAEA4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186544" y="3142467"/>
              <a:ext cx="2470910" cy="2481653"/>
            </a:xfrm>
            <a:prstGeom prst="rect">
              <a:avLst/>
            </a:prstGeom>
          </p:spPr>
        </p:pic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DB23F29B-B1B5-8B04-1E3C-F0D776D1EB4F}"/>
              </a:ext>
            </a:extLst>
          </p:cNvPr>
          <p:cNvGrpSpPr/>
          <p:nvPr/>
        </p:nvGrpSpPr>
        <p:grpSpPr>
          <a:xfrm>
            <a:off x="5485136" y="2049687"/>
            <a:ext cx="5781821" cy="3220279"/>
            <a:chOff x="4210106" y="2196804"/>
            <a:chExt cx="7521102" cy="4090766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59AC44EF-8808-9CAA-DFF2-C01BBC7BCC05}"/>
                </a:ext>
              </a:extLst>
            </p:cNvPr>
            <p:cNvSpPr>
              <a:spLocks/>
            </p:cNvSpPr>
            <p:nvPr/>
          </p:nvSpPr>
          <p:spPr>
            <a:xfrm>
              <a:off x="4210106" y="2196804"/>
              <a:ext cx="3760551" cy="4090766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pt-BR" sz="1600" dirty="0">
                <a:solidFill>
                  <a:schemeClr val="tx1"/>
                </a:solidFill>
              </a:endParaRPr>
            </a:p>
            <a:p>
              <a:pPr algn="ctr"/>
              <a:r>
                <a:rPr lang="pt-BR" sz="1600" dirty="0">
                  <a:solidFill>
                    <a:schemeClr val="tx1"/>
                  </a:solidFill>
                </a:rPr>
                <a:t>IBM </a:t>
              </a:r>
              <a:r>
                <a:rPr lang="pt-BR" sz="1600" dirty="0" err="1">
                  <a:solidFill>
                    <a:schemeClr val="tx1"/>
                  </a:solidFill>
                </a:rPr>
                <a:t>User</a:t>
              </a:r>
              <a:r>
                <a:rPr lang="pt-BR" sz="1600" dirty="0">
                  <a:solidFill>
                    <a:schemeClr val="tx1"/>
                  </a:solidFill>
                </a:rPr>
                <a:t> </a:t>
              </a:r>
              <a:r>
                <a:rPr lang="pt-BR" sz="1600" dirty="0" err="1">
                  <a:solidFill>
                    <a:schemeClr val="tx1"/>
                  </a:solidFill>
                </a:rPr>
                <a:t>Group</a:t>
              </a:r>
              <a:r>
                <a:rPr lang="pt-BR" sz="1600" dirty="0">
                  <a:solidFill>
                    <a:schemeClr val="tx1"/>
                  </a:solidFill>
                </a:rPr>
                <a:t> Community</a:t>
              </a:r>
            </a:p>
            <a:p>
              <a:pPr algn="ctr"/>
              <a:endParaRPr lang="pt-BR" sz="1600" dirty="0">
                <a:solidFill>
                  <a:schemeClr val="tx1"/>
                </a:solidFill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4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4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4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4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4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4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4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4"/>
              </a:endParaRPr>
            </a:p>
            <a:p>
              <a:pPr algn="ctr"/>
              <a:r>
                <a:rPr lang="pt-BR" sz="1600" dirty="0">
                  <a:solidFill>
                    <a:schemeClr val="tx1"/>
                  </a:solidFill>
                  <a:hlinkClick r:id="rId4"/>
                </a:rPr>
                <a:t>https://ibm.biz/ibm-integra-x</a:t>
              </a:r>
              <a:r>
                <a:rPr lang="pt-BR" sz="1600" dirty="0">
                  <a:solidFill>
                    <a:schemeClr val="tx1"/>
                  </a:solidFill>
                </a:rPr>
                <a:t> </a:t>
              </a:r>
              <a:endParaRPr lang="en-US" sz="1600" dirty="0">
                <a:solidFill>
                  <a:schemeClr val="tx1"/>
                </a:solidFill>
              </a:endParaRPr>
            </a:p>
          </p:txBody>
        </p:sp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CF7D47A7-5CED-4BA5-2CF7-25F87B3EEEE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765143" y="2919641"/>
              <a:ext cx="2648151" cy="2693611"/>
            </a:xfrm>
            <a:prstGeom prst="rect">
              <a:avLst/>
            </a:prstGeom>
          </p:spPr>
        </p:pic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872A1A97-648C-052C-E2C3-4BF4920E755E}"/>
                </a:ext>
              </a:extLst>
            </p:cNvPr>
            <p:cNvSpPr>
              <a:spLocks/>
            </p:cNvSpPr>
            <p:nvPr/>
          </p:nvSpPr>
          <p:spPr>
            <a:xfrm>
              <a:off x="7970657" y="2196804"/>
              <a:ext cx="3760551" cy="4090766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pt-BR" sz="1600" dirty="0">
                <a:solidFill>
                  <a:schemeClr val="tx1"/>
                </a:solidFill>
              </a:endParaRPr>
            </a:p>
            <a:p>
              <a:pPr algn="ctr"/>
              <a:r>
                <a:rPr lang="pt-BR" sz="1600" dirty="0">
                  <a:solidFill>
                    <a:schemeClr val="tx1"/>
                  </a:solidFill>
                </a:rPr>
                <a:t>LinkedIn</a:t>
              </a:r>
            </a:p>
            <a:p>
              <a:pPr algn="ctr"/>
              <a:endParaRPr lang="pt-BR" sz="1600" dirty="0">
                <a:solidFill>
                  <a:schemeClr val="tx1"/>
                </a:solidFill>
                <a:hlinkClick r:id="rId6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6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6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6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6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6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6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6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6"/>
              </a:endParaRPr>
            </a:p>
            <a:p>
              <a:pPr algn="ctr"/>
              <a:r>
                <a:rPr lang="pt-BR" sz="1600" dirty="0">
                  <a:solidFill>
                    <a:schemeClr val="tx1"/>
                  </a:solidFill>
                  <a:hlinkClick r:id="rId6"/>
                </a:rPr>
                <a:t>https://ibm.biz/linkedin-integra-x</a:t>
              </a:r>
              <a:r>
                <a:rPr lang="pt-BR" sz="1600" dirty="0">
                  <a:solidFill>
                    <a:schemeClr val="tx1"/>
                  </a:solidFill>
                </a:rPr>
                <a:t> </a:t>
              </a:r>
              <a:endParaRPr lang="en-US" sz="1600" dirty="0">
                <a:solidFill>
                  <a:schemeClr val="tx1"/>
                </a:solidFill>
              </a:endParaRPr>
            </a:p>
          </p:txBody>
        </p:sp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A0F8F408-6F90-13C7-4F2E-E7E02EEA191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8601648" y="2934689"/>
              <a:ext cx="2716344" cy="2670881"/>
            </a:xfrm>
            <a:prstGeom prst="rect">
              <a:avLst/>
            </a:prstGeom>
          </p:spPr>
        </p:pic>
      </p:grpSp>
      <p:sp>
        <p:nvSpPr>
          <p:cNvPr id="30" name="Rectangle 29">
            <a:extLst>
              <a:ext uri="{FF2B5EF4-FFF2-40B4-BE49-F238E27FC236}">
                <a16:creationId xmlns:a16="http://schemas.microsoft.com/office/drawing/2014/main" id="{C67BC115-3D9E-B251-BA13-16E0C695823D}"/>
              </a:ext>
            </a:extLst>
          </p:cNvPr>
          <p:cNvSpPr/>
          <p:nvPr/>
        </p:nvSpPr>
        <p:spPr>
          <a:xfrm>
            <a:off x="5484545" y="5269966"/>
            <a:ext cx="5783004" cy="1241385"/>
          </a:xfrm>
          <a:prstGeom prst="rect">
            <a:avLst/>
          </a:prstGeom>
          <a:solidFill>
            <a:srgbClr val="15608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Participe da nossa comunidade                                       a</a:t>
            </a:r>
            <a:endParaRPr lang="en-US" dirty="0"/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70E10A7D-3B33-7B5E-CBDE-F00874E34C7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99" t="27196" r="25457" b="25384"/>
          <a:stretch>
            <a:fillRect/>
          </a:stretch>
        </p:blipFill>
        <p:spPr>
          <a:xfrm>
            <a:off x="8800633" y="5443174"/>
            <a:ext cx="2128898" cy="781692"/>
          </a:xfrm>
          <a:prstGeom prst="rect">
            <a:avLst/>
          </a:prstGeom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94C8EFC6-F954-FCA5-9587-21554E8A0B1D}"/>
              </a:ext>
            </a:extLst>
          </p:cNvPr>
          <p:cNvSpPr/>
          <p:nvPr/>
        </p:nvSpPr>
        <p:spPr>
          <a:xfrm>
            <a:off x="1132339" y="2049687"/>
            <a:ext cx="3564355" cy="686923"/>
          </a:xfrm>
          <a:prstGeom prst="rect">
            <a:avLst/>
          </a:prstGeom>
          <a:solidFill>
            <a:srgbClr val="15608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Pode me avaliar?</a:t>
            </a:r>
            <a:endParaRPr lang="en-US" dirty="0"/>
          </a:p>
        </p:txBody>
      </p:sp>
      <p:pic>
        <p:nvPicPr>
          <p:cNvPr id="33" name="logo2-04.png" descr="logo2-04.png">
            <a:extLst>
              <a:ext uri="{FF2B5EF4-FFF2-40B4-BE49-F238E27FC236}">
                <a16:creationId xmlns:a16="http://schemas.microsoft.com/office/drawing/2014/main" id="{C4992519-0D15-A13F-7BB8-18C4ADFA510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757990" y="2898162"/>
            <a:ext cx="2404477" cy="711248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91822512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7A683BEF-64CC-3BD6-6511-E153B38024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5DB74849-7C7B-E14F-A4A8-658510257A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3D9E17B-3F4B-6E33-9E3E-0D52E9ED9C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A154AF4-FB68-D910-748B-4AAFDBC547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64D9459-3C64-F46D-D442-9EC3A172BD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5522587-0735-F20E-9E94-5DB1197B9A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F81FE24-D273-5ECF-61FB-1EFEA6664B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pt-BR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Referências Externas (</a:t>
            </a:r>
            <a:r>
              <a:rPr kumimoji="0" lang="pt-BR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Ex</a:t>
            </a:r>
            <a:r>
              <a:rPr kumimoji="0" lang="pt-BR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: Gartner)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External references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853B8F9-F138-D4FB-C7E3-37FF65BDC905}"/>
              </a:ext>
            </a:extLst>
          </p:cNvPr>
          <p:cNvSpPr>
            <a:spLocks/>
          </p:cNvSpPr>
          <p:nvPr/>
        </p:nvSpPr>
        <p:spPr>
          <a:xfrm>
            <a:off x="104820" y="1688044"/>
            <a:ext cx="7330361" cy="324378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pt-BR" dirty="0">
                <a:solidFill>
                  <a:schemeClr val="tx1"/>
                </a:solidFill>
              </a:rPr>
              <a:t>Passo 1 – Escolher o produto para avaliar</a:t>
            </a: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658E8B5-CFCC-6597-A539-559E5C0D73D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340" t="5982" r="4354"/>
          <a:stretch/>
        </p:blipFill>
        <p:spPr>
          <a:xfrm>
            <a:off x="256150" y="2227949"/>
            <a:ext cx="980336" cy="992493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325F192A-2F9C-28F0-9478-CD4A895DAF60}"/>
              </a:ext>
            </a:extLst>
          </p:cNvPr>
          <p:cNvSpPr/>
          <p:nvPr/>
        </p:nvSpPr>
        <p:spPr>
          <a:xfrm>
            <a:off x="88998" y="1987340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tx1"/>
                </a:solidFill>
              </a:rPr>
              <a:t>ACE/Broker</a:t>
            </a:r>
            <a:endParaRPr lang="en-US" sz="1400" b="1" dirty="0">
              <a:solidFill>
                <a:schemeClr val="tx1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FC20ED8-71A4-1B17-EBA5-76D775E8406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03368" y="2238337"/>
            <a:ext cx="978873" cy="972475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692085FB-ACB2-FF32-673A-F303C2F8289E}"/>
              </a:ext>
            </a:extLst>
          </p:cNvPr>
          <p:cNvSpPr/>
          <p:nvPr/>
        </p:nvSpPr>
        <p:spPr>
          <a:xfrm>
            <a:off x="1279694" y="1987340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tx1"/>
                </a:solidFill>
              </a:rPr>
              <a:t>Event </a:t>
            </a:r>
            <a:r>
              <a:rPr lang="pt-BR" sz="1400" b="1" dirty="0" err="1">
                <a:solidFill>
                  <a:schemeClr val="tx1"/>
                </a:solidFill>
              </a:rPr>
              <a:t>Stream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92F9AD1-3719-868E-B463-135BAD2EB1F4}"/>
              </a:ext>
            </a:extLst>
          </p:cNvPr>
          <p:cNvSpPr/>
          <p:nvPr/>
        </p:nvSpPr>
        <p:spPr>
          <a:xfrm>
            <a:off x="2427598" y="1987340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tx1"/>
                </a:solidFill>
              </a:rPr>
              <a:t>MQ</a:t>
            </a:r>
            <a:endParaRPr lang="en-US" sz="1400" b="1" dirty="0">
              <a:solidFill>
                <a:schemeClr val="tx1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9F3F5670-FBC3-1C77-B4AD-704C3598A1C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30977" y="2212204"/>
            <a:ext cx="1061332" cy="1035603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742BF1AE-7E18-3FE6-25CB-79DD65C81B33}"/>
              </a:ext>
            </a:extLst>
          </p:cNvPr>
          <p:cNvSpPr txBox="1"/>
          <p:nvPr/>
        </p:nvSpPr>
        <p:spPr>
          <a:xfrm>
            <a:off x="5856336" y="2192279"/>
            <a:ext cx="1586137" cy="2554545"/>
          </a:xfrm>
          <a:prstGeom prst="rect">
            <a:avLst/>
          </a:prstGeom>
          <a:noFill/>
        </p:spPr>
        <p:txBody>
          <a:bodyPr wrap="square" numCol="1">
            <a:spAutoFit/>
          </a:bodyPr>
          <a:lstStyle/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5"/>
              </a:rPr>
              <a:t>IBM-CP4I-ACE-U$25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6"/>
              </a:rPr>
              <a:t>IBM-CP4I-Aspera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7"/>
              </a:rPr>
              <a:t>IBM-CP4I-EventStream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8"/>
              </a:rPr>
              <a:t>IBM-CP4I-MQ-U$25</a:t>
            </a:r>
            <a:endParaRPr lang="en-US" sz="800" b="0" i="0" u="sng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fontAlgn="base"/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8"/>
              </a:rPr>
              <a:t>IBM-CP4I-APIC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</a:rPr>
              <a:t> </a:t>
            </a: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9"/>
              </a:rPr>
              <a:t>IBM-CP4A-WAS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0"/>
              </a:rPr>
              <a:t>IBM-CP4A-WebSphereLibertyCore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</a:rPr>
              <a:t> </a:t>
            </a: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1"/>
              </a:rPr>
              <a:t>IBM-CP4BA-BAW-U$25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2"/>
              </a:rPr>
              <a:t>IBM-CP4BA-FilenetContentManager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3"/>
              </a:rPr>
              <a:t>IBM-CP4BA-ODM-U$25</a:t>
            </a:r>
            <a:br>
              <a:rPr lang="en-US" sz="800" b="0" i="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</a:rPr>
            </a:b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4"/>
              </a:rPr>
              <a:t>IBM-CP4BA-ProcessMining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5"/>
              </a:rPr>
              <a:t>IBM-CP4BA-RPA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endParaRPr lang="en-US" sz="800" b="0" i="0" u="sng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  <a:hlinkClick r:id="" action="ppaction://noaction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" action="ppaction://noaction"/>
              </a:rPr>
              <a:t>IBM-</a:t>
            </a:r>
            <a:r>
              <a:rPr lang="en-US" sz="800" b="0" i="0" u="sng" dirty="0" err="1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6"/>
              </a:rPr>
              <a:t>Instana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7"/>
              </a:rPr>
              <a:t>IBM-</a:t>
            </a:r>
            <a:r>
              <a:rPr lang="en-US" sz="800" b="0" i="0" u="sng" dirty="0" err="1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7"/>
              </a:rPr>
              <a:t>Turbonomic</a:t>
            </a:r>
            <a:endParaRPr lang="en-US" sz="800" b="0" i="0" u="sng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u="sng" dirty="0">
                <a:solidFill>
                  <a:srgbClr val="000000"/>
                </a:solidFill>
                <a:highlight>
                  <a:srgbClr val="FFFFFF"/>
                </a:highlight>
                <a:latin typeface="Aptos" panose="020B0004020202020204" pitchFamily="34" charset="0"/>
                <a:hlinkClick r:id="rId18"/>
              </a:rPr>
              <a:t>IBM-Turbonomic-U$25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2222DD14-3C61-B704-E862-79A687BD61D1}"/>
              </a:ext>
            </a:extLst>
          </p:cNvPr>
          <p:cNvGrpSpPr/>
          <p:nvPr/>
        </p:nvGrpSpPr>
        <p:grpSpPr>
          <a:xfrm>
            <a:off x="7442521" y="1688045"/>
            <a:ext cx="4637285" cy="3243782"/>
            <a:chOff x="393230" y="4218935"/>
            <a:chExt cx="4630422" cy="2517534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64EFD9DF-8F2E-4F55-0200-0AA948776EA1}"/>
                </a:ext>
              </a:extLst>
            </p:cNvPr>
            <p:cNvSpPr>
              <a:spLocks/>
            </p:cNvSpPr>
            <p:nvPr/>
          </p:nvSpPr>
          <p:spPr>
            <a:xfrm>
              <a:off x="393230" y="4218935"/>
              <a:ext cx="4630422" cy="251753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pt-BR" dirty="0">
                  <a:solidFill>
                    <a:schemeClr val="tx1"/>
                  </a:solidFill>
                </a:rPr>
                <a:t>Passo 2 – Avaliar (tudo é </a:t>
              </a:r>
              <a:r>
                <a:rPr lang="pt-BR" b="1" dirty="0">
                  <a:solidFill>
                    <a:schemeClr val="tx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anônimo</a:t>
              </a:r>
              <a:r>
                <a:rPr lang="pt-BR" dirty="0">
                  <a:solidFill>
                    <a:schemeClr val="tx1"/>
                  </a:solidFill>
                </a:rPr>
                <a:t>!)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pic>
          <p:nvPicPr>
            <p:cNvPr id="19" name="Picture 2">
              <a:extLst>
                <a:ext uri="{FF2B5EF4-FFF2-40B4-BE49-F238E27FC236}">
                  <a16:creationId xmlns:a16="http://schemas.microsoft.com/office/drawing/2014/main" id="{D8CDA5AE-23C6-61AA-1B4F-0853A1FBC93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7981" y="4647421"/>
              <a:ext cx="3757508" cy="1653884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ACDC082A-9D2F-DF2A-7662-A6F10B0F5B8C}"/>
              </a:ext>
            </a:extLst>
          </p:cNvPr>
          <p:cNvGrpSpPr/>
          <p:nvPr/>
        </p:nvGrpSpPr>
        <p:grpSpPr>
          <a:xfrm>
            <a:off x="104820" y="4920395"/>
            <a:ext cx="7337653" cy="1751870"/>
            <a:chOff x="7135092" y="1975174"/>
            <a:chExt cx="7220159" cy="1836482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8C15BB23-E682-C5AB-6ABC-81796504370C}"/>
                </a:ext>
              </a:extLst>
            </p:cNvPr>
            <p:cNvSpPr>
              <a:spLocks/>
            </p:cNvSpPr>
            <p:nvPr/>
          </p:nvSpPr>
          <p:spPr>
            <a:xfrm>
              <a:off x="7135092" y="1975174"/>
              <a:ext cx="7220159" cy="1836482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pt-BR" dirty="0">
                  <a:solidFill>
                    <a:schemeClr val="tx1"/>
                  </a:solidFill>
                </a:rPr>
                <a:t>Passo 3 – Mandar </a:t>
              </a:r>
              <a:r>
                <a:rPr lang="pt-BR" dirty="0" err="1">
                  <a:solidFill>
                    <a:schemeClr val="tx1"/>
                  </a:solidFill>
                </a:rPr>
                <a:t>email</a:t>
              </a:r>
              <a:r>
                <a:rPr lang="pt-BR" dirty="0">
                  <a:solidFill>
                    <a:schemeClr val="tx1"/>
                  </a:solidFill>
                </a:rPr>
                <a:t> para alexandre.zanetti@br.ibm.com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5098B102-8B48-FA82-16D2-1A45285755D8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9938466" y="2500813"/>
              <a:ext cx="1188019" cy="1195444"/>
            </a:xfrm>
            <a:prstGeom prst="rect">
              <a:avLst/>
            </a:prstGeom>
          </p:spPr>
        </p:pic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9A5B17CB-D9AC-8DC6-437F-31C584205A79}"/>
                </a:ext>
              </a:extLst>
            </p:cNvPr>
            <p:cNvGrpSpPr/>
            <p:nvPr/>
          </p:nvGrpSpPr>
          <p:grpSpPr>
            <a:xfrm>
              <a:off x="7963320" y="2572536"/>
              <a:ext cx="1301703" cy="1123722"/>
              <a:chOff x="8586744" y="3002334"/>
              <a:chExt cx="941167" cy="812482"/>
            </a:xfrm>
          </p:grpSpPr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19E937DC-DB98-5C9B-6C6B-FB40F05212DE}"/>
                  </a:ext>
                </a:extLst>
              </p:cNvPr>
              <p:cNvSpPr/>
              <p:nvPr/>
            </p:nvSpPr>
            <p:spPr>
              <a:xfrm>
                <a:off x="8586744" y="3002334"/>
                <a:ext cx="723900" cy="812482"/>
              </a:xfrm>
              <a:custGeom>
                <a:avLst/>
                <a:gdLst>
                  <a:gd name="connsiteX0" fmla="*/ 600075 w 723900"/>
                  <a:gd name="connsiteY0" fmla="*/ 200749 h 812482"/>
                  <a:gd name="connsiteX1" fmla="*/ 600075 w 723900"/>
                  <a:gd name="connsiteY1" fmla="*/ 107633 h 812482"/>
                  <a:gd name="connsiteX2" fmla="*/ 490471 w 723900"/>
                  <a:gd name="connsiteY2" fmla="*/ 107633 h 812482"/>
                  <a:gd name="connsiteX3" fmla="*/ 361950 w 723900"/>
                  <a:gd name="connsiteY3" fmla="*/ 0 h 812482"/>
                  <a:gd name="connsiteX4" fmla="*/ 233429 w 723900"/>
                  <a:gd name="connsiteY4" fmla="*/ 107633 h 812482"/>
                  <a:gd name="connsiteX5" fmla="*/ 123825 w 723900"/>
                  <a:gd name="connsiteY5" fmla="*/ 107633 h 812482"/>
                  <a:gd name="connsiteX6" fmla="*/ 123825 w 723900"/>
                  <a:gd name="connsiteY6" fmla="*/ 200749 h 812482"/>
                  <a:gd name="connsiteX7" fmla="*/ 0 w 723900"/>
                  <a:gd name="connsiteY7" fmla="*/ 303171 h 812482"/>
                  <a:gd name="connsiteX8" fmla="*/ 0 w 723900"/>
                  <a:gd name="connsiteY8" fmla="*/ 812483 h 812482"/>
                  <a:gd name="connsiteX9" fmla="*/ 723900 w 723900"/>
                  <a:gd name="connsiteY9" fmla="*/ 812483 h 812482"/>
                  <a:gd name="connsiteX10" fmla="*/ 723900 w 723900"/>
                  <a:gd name="connsiteY10" fmla="*/ 303171 h 812482"/>
                  <a:gd name="connsiteX11" fmla="*/ 600075 w 723900"/>
                  <a:gd name="connsiteY11" fmla="*/ 225514 h 812482"/>
                  <a:gd name="connsiteX12" fmla="*/ 700240 w 723900"/>
                  <a:gd name="connsiteY12" fmla="*/ 308381 h 812482"/>
                  <a:gd name="connsiteX13" fmla="*/ 600075 w 723900"/>
                  <a:gd name="connsiteY13" fmla="*/ 408489 h 812482"/>
                  <a:gd name="connsiteX14" fmla="*/ 361950 w 723900"/>
                  <a:gd name="connsiteY14" fmla="*/ 24813 h 812482"/>
                  <a:gd name="connsiteX15" fmla="*/ 460800 w 723900"/>
                  <a:gd name="connsiteY15" fmla="*/ 107633 h 812482"/>
                  <a:gd name="connsiteX16" fmla="*/ 263100 w 723900"/>
                  <a:gd name="connsiteY16" fmla="*/ 107633 h 812482"/>
                  <a:gd name="connsiteX17" fmla="*/ 142875 w 723900"/>
                  <a:gd name="connsiteY17" fmla="*/ 126683 h 812482"/>
                  <a:gd name="connsiteX18" fmla="*/ 581025 w 723900"/>
                  <a:gd name="connsiteY18" fmla="*/ 126683 h 812482"/>
                  <a:gd name="connsiteX19" fmla="*/ 581025 w 723900"/>
                  <a:gd name="connsiteY19" fmla="*/ 427539 h 812482"/>
                  <a:gd name="connsiteX20" fmla="*/ 466230 w 723900"/>
                  <a:gd name="connsiteY20" fmla="*/ 542334 h 812482"/>
                  <a:gd name="connsiteX21" fmla="*/ 257632 w 723900"/>
                  <a:gd name="connsiteY21" fmla="*/ 542334 h 812482"/>
                  <a:gd name="connsiteX22" fmla="*/ 142875 w 723900"/>
                  <a:gd name="connsiteY22" fmla="*/ 427539 h 812482"/>
                  <a:gd name="connsiteX23" fmla="*/ 123825 w 723900"/>
                  <a:gd name="connsiteY23" fmla="*/ 225476 h 812482"/>
                  <a:gd name="connsiteX24" fmla="*/ 123825 w 723900"/>
                  <a:gd name="connsiteY24" fmla="*/ 408489 h 812482"/>
                  <a:gd name="connsiteX25" fmla="*/ 23660 w 723900"/>
                  <a:gd name="connsiteY25" fmla="*/ 308324 h 812482"/>
                  <a:gd name="connsiteX26" fmla="*/ 19212 w 723900"/>
                  <a:gd name="connsiteY26" fmla="*/ 330813 h 812482"/>
                  <a:gd name="connsiteX27" fmla="*/ 243707 w 723900"/>
                  <a:gd name="connsiteY27" fmla="*/ 555308 h 812482"/>
                  <a:gd name="connsiteX28" fmla="*/ 19212 w 723900"/>
                  <a:gd name="connsiteY28" fmla="*/ 779802 h 812482"/>
                  <a:gd name="connsiteX29" fmla="*/ 19078 w 723900"/>
                  <a:gd name="connsiteY29" fmla="*/ 779801 h 812482"/>
                  <a:gd name="connsiteX30" fmla="*/ 19050 w 723900"/>
                  <a:gd name="connsiteY30" fmla="*/ 779736 h 812482"/>
                  <a:gd name="connsiteX31" fmla="*/ 19050 w 723900"/>
                  <a:gd name="connsiteY31" fmla="*/ 330879 h 812482"/>
                  <a:gd name="connsiteX32" fmla="*/ 19146 w 723900"/>
                  <a:gd name="connsiteY32" fmla="*/ 330785 h 812482"/>
                  <a:gd name="connsiteX33" fmla="*/ 19212 w 723900"/>
                  <a:gd name="connsiteY33" fmla="*/ 330813 h 812482"/>
                  <a:gd name="connsiteX34" fmla="*/ 32747 w 723900"/>
                  <a:gd name="connsiteY34" fmla="*/ 793433 h 812482"/>
                  <a:gd name="connsiteX35" fmla="*/ 32653 w 723900"/>
                  <a:gd name="connsiteY35" fmla="*/ 793336 h 812482"/>
                  <a:gd name="connsiteX36" fmla="*/ 32680 w 723900"/>
                  <a:gd name="connsiteY36" fmla="*/ 793271 h 812482"/>
                  <a:gd name="connsiteX37" fmla="*/ 260928 w 723900"/>
                  <a:gd name="connsiteY37" fmla="*/ 565033 h 812482"/>
                  <a:gd name="connsiteX38" fmla="*/ 462972 w 723900"/>
                  <a:gd name="connsiteY38" fmla="*/ 565033 h 812482"/>
                  <a:gd name="connsiteX39" fmla="*/ 691220 w 723900"/>
                  <a:gd name="connsiteY39" fmla="*/ 793271 h 812482"/>
                  <a:gd name="connsiteX40" fmla="*/ 691219 w 723900"/>
                  <a:gd name="connsiteY40" fmla="*/ 793405 h 812482"/>
                  <a:gd name="connsiteX41" fmla="*/ 691153 w 723900"/>
                  <a:gd name="connsiteY41" fmla="*/ 793433 h 812482"/>
                  <a:gd name="connsiteX42" fmla="*/ 704688 w 723900"/>
                  <a:gd name="connsiteY42" fmla="*/ 779802 h 812482"/>
                  <a:gd name="connsiteX43" fmla="*/ 480193 w 723900"/>
                  <a:gd name="connsiteY43" fmla="*/ 555308 h 812482"/>
                  <a:gd name="connsiteX44" fmla="*/ 704688 w 723900"/>
                  <a:gd name="connsiteY44" fmla="*/ 330813 h 812482"/>
                  <a:gd name="connsiteX45" fmla="*/ 704822 w 723900"/>
                  <a:gd name="connsiteY45" fmla="*/ 330814 h 812482"/>
                  <a:gd name="connsiteX46" fmla="*/ 704850 w 723900"/>
                  <a:gd name="connsiteY46" fmla="*/ 330879 h 812482"/>
                  <a:gd name="connsiteX47" fmla="*/ 704850 w 723900"/>
                  <a:gd name="connsiteY47" fmla="*/ 779736 h 812482"/>
                  <a:gd name="connsiteX48" fmla="*/ 704754 w 723900"/>
                  <a:gd name="connsiteY48" fmla="*/ 779830 h 812482"/>
                  <a:gd name="connsiteX49" fmla="*/ 704688 w 723900"/>
                  <a:gd name="connsiteY49" fmla="*/ 779802 h 8124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723900" h="812482">
                    <a:moveTo>
                      <a:pt x="600075" y="200749"/>
                    </a:moveTo>
                    <a:lnTo>
                      <a:pt x="600075" y="107633"/>
                    </a:lnTo>
                    <a:lnTo>
                      <a:pt x="490471" y="107633"/>
                    </a:lnTo>
                    <a:lnTo>
                      <a:pt x="361950" y="0"/>
                    </a:lnTo>
                    <a:lnTo>
                      <a:pt x="233429" y="107633"/>
                    </a:lnTo>
                    <a:lnTo>
                      <a:pt x="123825" y="107633"/>
                    </a:lnTo>
                    <a:lnTo>
                      <a:pt x="123825" y="200749"/>
                    </a:lnTo>
                    <a:lnTo>
                      <a:pt x="0" y="303171"/>
                    </a:lnTo>
                    <a:lnTo>
                      <a:pt x="0" y="812483"/>
                    </a:lnTo>
                    <a:lnTo>
                      <a:pt x="723900" y="812483"/>
                    </a:lnTo>
                    <a:lnTo>
                      <a:pt x="723900" y="303171"/>
                    </a:lnTo>
                    <a:close/>
                    <a:moveTo>
                      <a:pt x="600075" y="225514"/>
                    </a:moveTo>
                    <a:lnTo>
                      <a:pt x="700240" y="308381"/>
                    </a:lnTo>
                    <a:lnTo>
                      <a:pt x="600075" y="408489"/>
                    </a:lnTo>
                    <a:close/>
                    <a:moveTo>
                      <a:pt x="361950" y="24813"/>
                    </a:moveTo>
                    <a:lnTo>
                      <a:pt x="460800" y="107633"/>
                    </a:lnTo>
                    <a:lnTo>
                      <a:pt x="263100" y="107633"/>
                    </a:lnTo>
                    <a:close/>
                    <a:moveTo>
                      <a:pt x="142875" y="126683"/>
                    </a:moveTo>
                    <a:lnTo>
                      <a:pt x="581025" y="126683"/>
                    </a:lnTo>
                    <a:lnTo>
                      <a:pt x="581025" y="427539"/>
                    </a:lnTo>
                    <a:lnTo>
                      <a:pt x="466230" y="542334"/>
                    </a:lnTo>
                    <a:cubicBezTo>
                      <a:pt x="405944" y="491621"/>
                      <a:pt x="317918" y="491621"/>
                      <a:pt x="257632" y="542334"/>
                    </a:cubicBezTo>
                    <a:lnTo>
                      <a:pt x="142875" y="427539"/>
                    </a:lnTo>
                    <a:close/>
                    <a:moveTo>
                      <a:pt x="123825" y="225476"/>
                    </a:moveTo>
                    <a:lnTo>
                      <a:pt x="123825" y="408489"/>
                    </a:lnTo>
                    <a:lnTo>
                      <a:pt x="23660" y="308324"/>
                    </a:lnTo>
                    <a:close/>
                    <a:moveTo>
                      <a:pt x="19212" y="330813"/>
                    </a:moveTo>
                    <a:lnTo>
                      <a:pt x="243707" y="555308"/>
                    </a:lnTo>
                    <a:lnTo>
                      <a:pt x="19212" y="779802"/>
                    </a:lnTo>
                    <a:cubicBezTo>
                      <a:pt x="19175" y="779839"/>
                      <a:pt x="19114" y="779838"/>
                      <a:pt x="19078" y="779801"/>
                    </a:cubicBezTo>
                    <a:cubicBezTo>
                      <a:pt x="19060" y="779783"/>
                      <a:pt x="19050" y="779760"/>
                      <a:pt x="19050" y="779736"/>
                    </a:cubicBezTo>
                    <a:lnTo>
                      <a:pt x="19050" y="330879"/>
                    </a:lnTo>
                    <a:cubicBezTo>
                      <a:pt x="19051" y="330827"/>
                      <a:pt x="19094" y="330785"/>
                      <a:pt x="19146" y="330785"/>
                    </a:cubicBezTo>
                    <a:cubicBezTo>
                      <a:pt x="19171" y="330786"/>
                      <a:pt x="19195" y="330796"/>
                      <a:pt x="19212" y="330813"/>
                    </a:cubicBezTo>
                    <a:close/>
                    <a:moveTo>
                      <a:pt x="32747" y="793433"/>
                    </a:moveTo>
                    <a:cubicBezTo>
                      <a:pt x="32695" y="793432"/>
                      <a:pt x="32653" y="793389"/>
                      <a:pt x="32653" y="793336"/>
                    </a:cubicBezTo>
                    <a:cubicBezTo>
                      <a:pt x="32654" y="793312"/>
                      <a:pt x="32663" y="793288"/>
                      <a:pt x="32680" y="793271"/>
                    </a:cubicBezTo>
                    <a:lnTo>
                      <a:pt x="260928" y="565033"/>
                    </a:lnTo>
                    <a:cubicBezTo>
                      <a:pt x="316755" y="509323"/>
                      <a:pt x="407145" y="509323"/>
                      <a:pt x="462972" y="565033"/>
                    </a:cubicBezTo>
                    <a:lnTo>
                      <a:pt x="691220" y="793271"/>
                    </a:lnTo>
                    <a:cubicBezTo>
                      <a:pt x="691257" y="793308"/>
                      <a:pt x="691256" y="793369"/>
                      <a:pt x="691219" y="793405"/>
                    </a:cubicBezTo>
                    <a:cubicBezTo>
                      <a:pt x="691201" y="793422"/>
                      <a:pt x="691178" y="793433"/>
                      <a:pt x="691153" y="793433"/>
                    </a:cubicBezTo>
                    <a:close/>
                    <a:moveTo>
                      <a:pt x="704688" y="779802"/>
                    </a:moveTo>
                    <a:lnTo>
                      <a:pt x="480193" y="555308"/>
                    </a:lnTo>
                    <a:lnTo>
                      <a:pt x="704688" y="330813"/>
                    </a:lnTo>
                    <a:cubicBezTo>
                      <a:pt x="704725" y="330776"/>
                      <a:pt x="704786" y="330777"/>
                      <a:pt x="704822" y="330814"/>
                    </a:cubicBezTo>
                    <a:cubicBezTo>
                      <a:pt x="704840" y="330832"/>
                      <a:pt x="704850" y="330855"/>
                      <a:pt x="704850" y="330879"/>
                    </a:cubicBezTo>
                    <a:lnTo>
                      <a:pt x="704850" y="779736"/>
                    </a:lnTo>
                    <a:cubicBezTo>
                      <a:pt x="704849" y="779788"/>
                      <a:pt x="704806" y="779830"/>
                      <a:pt x="704754" y="779830"/>
                    </a:cubicBezTo>
                    <a:cubicBezTo>
                      <a:pt x="704729" y="779829"/>
                      <a:pt x="704705" y="779819"/>
                      <a:pt x="704688" y="779802"/>
                    </a:cubicBez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pic>
            <p:nvPicPr>
              <p:cNvPr id="26" name="Picture 2">
                <a:extLst>
                  <a:ext uri="{FF2B5EF4-FFF2-40B4-BE49-F238E27FC236}">
                    <a16:creationId xmlns:a16="http://schemas.microsoft.com/office/drawing/2014/main" id="{7A30EFA1-6EAB-BC22-8582-A414C803657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rot="19800000">
                <a:off x="8705997" y="3008282"/>
                <a:ext cx="821914" cy="36176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24" name="Arrow: Right 23">
              <a:extLst>
                <a:ext uri="{FF2B5EF4-FFF2-40B4-BE49-F238E27FC236}">
                  <a16:creationId xmlns:a16="http://schemas.microsoft.com/office/drawing/2014/main" id="{8FAD2341-3A70-9616-6BCC-E06B3DE6C37A}"/>
                </a:ext>
              </a:extLst>
            </p:cNvPr>
            <p:cNvSpPr/>
            <p:nvPr/>
          </p:nvSpPr>
          <p:spPr>
            <a:xfrm>
              <a:off x="9178281" y="2871297"/>
              <a:ext cx="760135" cy="775504"/>
            </a:xfrm>
            <a:prstGeom prst="rightArrow">
              <a:avLst/>
            </a:prstGeom>
          </p:spPr>
          <p:style>
            <a:lnRef idx="2">
              <a:schemeClr val="dk1">
                <a:shade val="15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A90267AA-2CAA-D304-51EC-4B2D366AB597}"/>
              </a:ext>
            </a:extLst>
          </p:cNvPr>
          <p:cNvGrpSpPr/>
          <p:nvPr/>
        </p:nvGrpSpPr>
        <p:grpSpPr>
          <a:xfrm>
            <a:off x="7161017" y="4697310"/>
            <a:ext cx="5023644" cy="2160690"/>
            <a:chOff x="7168343" y="4697310"/>
            <a:chExt cx="5023644" cy="2160690"/>
          </a:xfrm>
        </p:grpSpPr>
        <p:pic>
          <p:nvPicPr>
            <p:cNvPr id="28" name="logo2-04.png" descr="logo2-04.png">
              <a:extLst>
                <a:ext uri="{FF2B5EF4-FFF2-40B4-BE49-F238E27FC236}">
                  <a16:creationId xmlns:a16="http://schemas.microsoft.com/office/drawing/2014/main" id="{4AE9FF7E-B32D-A1A4-BBF8-50CC6418C37F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10058399" y="6257883"/>
              <a:ext cx="2028783" cy="600117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90685BC1-49D0-0A1F-7A2C-32349E365586}"/>
                </a:ext>
              </a:extLst>
            </p:cNvPr>
            <p:cNvSpPr>
              <a:spLocks/>
            </p:cNvSpPr>
            <p:nvPr/>
          </p:nvSpPr>
          <p:spPr>
            <a:xfrm>
              <a:off x="7449847" y="4920395"/>
              <a:ext cx="4637332" cy="1751870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pt-BR" dirty="0">
                  <a:solidFill>
                    <a:schemeClr val="tx1"/>
                  </a:solidFill>
                </a:rPr>
                <a:t>Passo 4 – Em alguns produtos.. .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pic>
          <p:nvPicPr>
            <p:cNvPr id="30" name="Picture 4" descr="Earn a $25 gift card!">
              <a:extLst>
                <a:ext uri="{FF2B5EF4-FFF2-40B4-BE49-F238E27FC236}">
                  <a16:creationId xmlns:a16="http://schemas.microsoft.com/office/drawing/2014/main" id="{AA1A2BDA-914A-3AC7-2038-001204B6E70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68343" y="5562744"/>
              <a:ext cx="4918837" cy="10930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1" name="Star: 32 Points 30">
              <a:extLst>
                <a:ext uri="{FF2B5EF4-FFF2-40B4-BE49-F238E27FC236}">
                  <a16:creationId xmlns:a16="http://schemas.microsoft.com/office/drawing/2014/main" id="{AC36F529-343A-ACFE-7FE3-ED0DB3D26523}"/>
                </a:ext>
              </a:extLst>
            </p:cNvPr>
            <p:cNvSpPr/>
            <p:nvPr/>
          </p:nvSpPr>
          <p:spPr>
            <a:xfrm>
              <a:off x="10062246" y="4697310"/>
              <a:ext cx="2129741" cy="1182018"/>
            </a:xfrm>
            <a:prstGeom prst="star32">
              <a:avLst/>
            </a:prstGeom>
          </p:spPr>
          <p:style>
            <a:lnRef idx="2">
              <a:schemeClr val="accent4">
                <a:shade val="15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dirty="0" err="1">
                  <a:solidFill>
                    <a:schemeClr val="tx1"/>
                  </a:solidFill>
                </a:rPr>
                <a:t>Gift</a:t>
              </a:r>
              <a:r>
                <a:rPr lang="pt-BR" dirty="0">
                  <a:solidFill>
                    <a:schemeClr val="tx1"/>
                  </a:solidFill>
                </a:rPr>
                <a:t> card U$ 25</a:t>
              </a:r>
              <a:endParaRPr lang="en-US" dirty="0">
                <a:solidFill>
                  <a:schemeClr val="tx1"/>
                </a:solidFill>
              </a:endParaRPr>
            </a:p>
          </p:txBody>
        </p:sp>
      </p:grpSp>
      <p:sp>
        <p:nvSpPr>
          <p:cNvPr id="32" name="Rectangle 31">
            <a:extLst>
              <a:ext uri="{FF2B5EF4-FFF2-40B4-BE49-F238E27FC236}">
                <a16:creationId xmlns:a16="http://schemas.microsoft.com/office/drawing/2014/main" id="{51B0A244-340D-154C-51A0-DECC08B98AD9}"/>
              </a:ext>
            </a:extLst>
          </p:cNvPr>
          <p:cNvSpPr/>
          <p:nvPr/>
        </p:nvSpPr>
        <p:spPr>
          <a:xfrm>
            <a:off x="3596503" y="1987340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tx1"/>
                </a:solidFill>
              </a:rPr>
              <a:t>APIC</a:t>
            </a:r>
            <a:endParaRPr lang="en-US" sz="1400" b="1" dirty="0">
              <a:solidFill>
                <a:schemeClr val="tx1"/>
              </a:solidFill>
            </a:endParaRP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91CD54BE-F4AF-9EA8-85E1-75D016107526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3721673" y="2207187"/>
            <a:ext cx="1043221" cy="1043221"/>
          </a:xfrm>
          <a:prstGeom prst="rect">
            <a:avLst/>
          </a:prstGeom>
        </p:spPr>
      </p:pic>
      <p:sp>
        <p:nvSpPr>
          <p:cNvPr id="34" name="Rectangle 33">
            <a:extLst>
              <a:ext uri="{FF2B5EF4-FFF2-40B4-BE49-F238E27FC236}">
                <a16:creationId xmlns:a16="http://schemas.microsoft.com/office/drawing/2014/main" id="{7F664094-C2CB-2355-15E1-24FFA1C7407C}"/>
              </a:ext>
            </a:extLst>
          </p:cNvPr>
          <p:cNvSpPr/>
          <p:nvPr/>
        </p:nvSpPr>
        <p:spPr>
          <a:xfrm>
            <a:off x="256150" y="3387998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tx1"/>
                </a:solidFill>
              </a:rPr>
              <a:t>RPA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0E4FB085-DEE3-8B5E-6431-4F3B5C32AFCE}"/>
              </a:ext>
            </a:extLst>
          </p:cNvPr>
          <p:cNvSpPr/>
          <p:nvPr/>
        </p:nvSpPr>
        <p:spPr>
          <a:xfrm>
            <a:off x="1252325" y="3370216"/>
            <a:ext cx="1315483" cy="2583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 err="1">
                <a:solidFill>
                  <a:schemeClr val="tx1"/>
                </a:solidFill>
              </a:rPr>
              <a:t>Process</a:t>
            </a:r>
            <a:r>
              <a:rPr lang="pt-BR" sz="1400" b="1" dirty="0">
                <a:solidFill>
                  <a:schemeClr val="tx1"/>
                </a:solidFill>
              </a:rPr>
              <a:t> Mining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95E1E7A4-9103-384A-9BF8-29810D3F2F9D}"/>
              </a:ext>
            </a:extLst>
          </p:cNvPr>
          <p:cNvSpPr/>
          <p:nvPr/>
        </p:nvSpPr>
        <p:spPr>
          <a:xfrm>
            <a:off x="2428549" y="3387998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tx1"/>
                </a:solidFill>
              </a:rPr>
              <a:t>BAW/BPM</a:t>
            </a:r>
            <a:endParaRPr lang="en-US" sz="1400" b="1" dirty="0">
              <a:solidFill>
                <a:schemeClr val="tx1"/>
              </a:solidFill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39963B97-80D6-2830-54EB-54C4B4A54ED1}"/>
              </a:ext>
            </a:extLst>
          </p:cNvPr>
          <p:cNvGrpSpPr/>
          <p:nvPr/>
        </p:nvGrpSpPr>
        <p:grpSpPr>
          <a:xfrm>
            <a:off x="225013" y="3612862"/>
            <a:ext cx="4539309" cy="1106319"/>
            <a:chOff x="225013" y="2498977"/>
            <a:chExt cx="5423434" cy="1321798"/>
          </a:xfrm>
        </p:grpSpPr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1959D74B-69C9-EC77-59F8-3BA9E0349319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/>
            <a:stretch>
              <a:fillRect/>
            </a:stretch>
          </p:blipFill>
          <p:spPr>
            <a:xfrm>
              <a:off x="225013" y="2498977"/>
              <a:ext cx="1246954" cy="1294009"/>
            </a:xfrm>
            <a:prstGeom prst="rect">
              <a:avLst/>
            </a:prstGeom>
          </p:spPr>
        </p:pic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5822714C-F298-2BC1-7D21-8AC0D3BDDF08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/>
            <a:stretch>
              <a:fillRect/>
            </a:stretch>
          </p:blipFill>
          <p:spPr>
            <a:xfrm>
              <a:off x="1617675" y="2540660"/>
              <a:ext cx="1242329" cy="1266220"/>
            </a:xfrm>
            <a:prstGeom prst="rect">
              <a:avLst/>
            </a:prstGeom>
          </p:spPr>
        </p:pic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B2A582C7-7ECC-2FA7-A453-30C046467980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/>
            <a:stretch>
              <a:fillRect/>
            </a:stretch>
          </p:blipFill>
          <p:spPr>
            <a:xfrm>
              <a:off x="3005713" y="2526766"/>
              <a:ext cx="1309886" cy="1294009"/>
            </a:xfrm>
            <a:prstGeom prst="rect">
              <a:avLst/>
            </a:prstGeom>
          </p:spPr>
        </p:pic>
        <p:pic>
          <p:nvPicPr>
            <p:cNvPr id="41" name="Picture 40">
              <a:extLst>
                <a:ext uri="{FF2B5EF4-FFF2-40B4-BE49-F238E27FC236}">
                  <a16:creationId xmlns:a16="http://schemas.microsoft.com/office/drawing/2014/main" id="{5C7BE3F6-A14D-FC21-2985-87FD350564B7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/>
            <a:stretch>
              <a:fillRect/>
            </a:stretch>
          </p:blipFill>
          <p:spPr>
            <a:xfrm>
              <a:off x="4398530" y="2550248"/>
              <a:ext cx="1249917" cy="1242006"/>
            </a:xfrm>
            <a:prstGeom prst="rect">
              <a:avLst/>
            </a:prstGeom>
          </p:spPr>
        </p:pic>
      </p:grpSp>
      <p:sp>
        <p:nvSpPr>
          <p:cNvPr id="42" name="Rectangle 41">
            <a:extLst>
              <a:ext uri="{FF2B5EF4-FFF2-40B4-BE49-F238E27FC236}">
                <a16:creationId xmlns:a16="http://schemas.microsoft.com/office/drawing/2014/main" id="{478261F5-0365-C072-C138-FECC58D12E31}"/>
              </a:ext>
            </a:extLst>
          </p:cNvPr>
          <p:cNvSpPr/>
          <p:nvPr/>
        </p:nvSpPr>
        <p:spPr>
          <a:xfrm>
            <a:off x="3602689" y="3387998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 err="1">
                <a:solidFill>
                  <a:schemeClr val="tx1"/>
                </a:solidFill>
              </a:rPr>
              <a:t>Filenet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BBD29278-E036-693C-21DB-BDC058595346}"/>
              </a:ext>
            </a:extLst>
          </p:cNvPr>
          <p:cNvSpPr/>
          <p:nvPr/>
        </p:nvSpPr>
        <p:spPr>
          <a:xfrm>
            <a:off x="4728780" y="1962590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 err="1">
                <a:solidFill>
                  <a:schemeClr val="tx1"/>
                </a:solidFill>
              </a:rPr>
              <a:t>Turbonomic</a:t>
            </a:r>
            <a:endParaRPr lang="en-US" sz="1400" b="1" dirty="0">
              <a:solidFill>
                <a:schemeClr val="tx1"/>
              </a:solidFill>
            </a:endParaRPr>
          </a:p>
        </p:txBody>
      </p:sp>
      <p:pic>
        <p:nvPicPr>
          <p:cNvPr id="70" name="Picture 69">
            <a:extLst>
              <a:ext uri="{FF2B5EF4-FFF2-40B4-BE49-F238E27FC236}">
                <a16:creationId xmlns:a16="http://schemas.microsoft.com/office/drawing/2014/main" id="{2D136AB7-93D8-E1E5-9104-B4403507BA11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4786096" y="2164503"/>
            <a:ext cx="1183459" cy="1098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3376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567364B-9BD5-10E3-2CD4-868BCD6ACB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FEEB53BB-ADE1-67F3-A517-DF503BA85A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F3D98EF-F834-2478-D8DC-4BDAFEAC68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0B8270C-2F29-B3A4-6CDA-596843EB19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A3B6545-67FD-746C-0311-AF590B0C7C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18DD988-30F5-E455-7D20-46BF4FCA46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5" name="logo2-04.png" descr="logo2-04.png">
            <a:extLst>
              <a:ext uri="{FF2B5EF4-FFF2-40B4-BE49-F238E27FC236}">
                <a16:creationId xmlns:a16="http://schemas.microsoft.com/office/drawing/2014/main" id="{BFA85D3A-996D-45E2-F061-B992E256B04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262FCA1F-3CDA-12BF-8A91-144EBFEBCC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2656FF8-08C7-5315-CF45-41F740632D8C}"/>
              </a:ext>
            </a:extLst>
          </p:cNvPr>
          <p:cNvSpPr txBox="1"/>
          <p:nvPr/>
        </p:nvSpPr>
        <p:spPr>
          <a:xfrm>
            <a:off x="184458" y="6512612"/>
            <a:ext cx="609407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hlinkClick r:id="rId3"/>
              </a:rPr>
              <a:t>https://www.ibm.com/support/pages/lifecycle/search?q=ibm%20app%20connect%20enterprise</a:t>
            </a:r>
            <a:r>
              <a:rPr lang="en-US" sz="800" dirty="0"/>
              <a:t> </a:t>
            </a:r>
          </a:p>
          <a:p>
            <a:r>
              <a:rPr lang="en-US" sz="800" dirty="0">
                <a:hlinkClick r:id="rId4"/>
              </a:rPr>
              <a:t>https://www.ibm.com/support/pages/lifecycle/search?q=ibm%20integration%20bus</a:t>
            </a:r>
            <a:r>
              <a:rPr lang="en-US" sz="800" dirty="0"/>
              <a:t> 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A1A694A3-64F6-FBF9-AF16-9364AE50D005}"/>
              </a:ext>
            </a:extLst>
          </p:cNvPr>
          <p:cNvCxnSpPr>
            <a:cxnSpLocks/>
          </p:cNvCxnSpPr>
          <p:nvPr/>
        </p:nvCxnSpPr>
        <p:spPr>
          <a:xfrm>
            <a:off x="1031892" y="4704203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1E1AD71B-C206-D420-6C6C-B493266E9C8A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r="12598"/>
          <a:stretch/>
        </p:blipFill>
        <p:spPr>
          <a:xfrm>
            <a:off x="1064265" y="2492486"/>
            <a:ext cx="8994134" cy="1553028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1AB995A6-8160-6D3A-ACB5-BC8F864C37A4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b="57531"/>
          <a:stretch/>
        </p:blipFill>
        <p:spPr>
          <a:xfrm>
            <a:off x="1108572" y="4045514"/>
            <a:ext cx="8849423" cy="643084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987EF3B2-7B5A-8553-2CC9-EBB6AC36291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5C1F3DB9-38B7-0D8F-AC63-FFEB16B5CC74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32">
            <a:extLst>
              <a:ext uri="{FF2B5EF4-FFF2-40B4-BE49-F238E27FC236}">
                <a16:creationId xmlns:a16="http://schemas.microsoft.com/office/drawing/2014/main" id="{D7F1ECFC-D578-C1B4-7609-8217C3C835BA}"/>
              </a:ext>
            </a:extLst>
          </p:cNvPr>
          <p:cNvSpPr/>
          <p:nvPr/>
        </p:nvSpPr>
        <p:spPr>
          <a:xfrm>
            <a:off x="1108573" y="2541238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270711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EBD9567-45A2-4B1A-F52D-526889EE3D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40B42A3A-03F1-F86F-9CF5-8BE4DC38D8C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02D8567-B0C9-CCEC-AE85-95C7DB16E2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098C72B-4C97-D59D-06BA-37740A139C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788699C-076F-9379-B988-56644EC4D5F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373FE2C-4918-882D-CAB8-18FB7CA85B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C3386B2-B147-07F5-1001-836D9094787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74525"/>
          <a:stretch/>
        </p:blipFill>
        <p:spPr>
          <a:xfrm>
            <a:off x="1026588" y="3199646"/>
            <a:ext cx="10212052" cy="44172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8EE0B93-74DF-8B44-1545-F9A72E98FDA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63765"/>
          <a:stretch/>
        </p:blipFill>
        <p:spPr>
          <a:xfrm>
            <a:off x="1034454" y="2535022"/>
            <a:ext cx="10212052" cy="628304"/>
          </a:xfrm>
          <a:prstGeom prst="rect">
            <a:avLst/>
          </a:prstGeom>
        </p:spPr>
      </p:pic>
      <p:pic>
        <p:nvPicPr>
          <p:cNvPr id="11" name="logo2-04.png" descr="logo2-04.png">
            <a:extLst>
              <a:ext uri="{FF2B5EF4-FFF2-40B4-BE49-F238E27FC236}">
                <a16:creationId xmlns:a16="http://schemas.microsoft.com/office/drawing/2014/main" id="{6F0C1967-B468-3AC5-96A7-BBD25E104BE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19C18EA3-8D3E-99F8-9994-5693B1A9E9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62CC27B-BAA7-57AC-05DD-858C271FAF33}"/>
              </a:ext>
            </a:extLst>
          </p:cNvPr>
          <p:cNvSpPr txBox="1"/>
          <p:nvPr/>
        </p:nvSpPr>
        <p:spPr>
          <a:xfrm>
            <a:off x="184458" y="6512612"/>
            <a:ext cx="609407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hlinkClick r:id="rId4"/>
              </a:rPr>
              <a:t>https://www.ibm.com/support/pages/lifecycle/search?q=ibm%20mq</a:t>
            </a:r>
            <a:r>
              <a:rPr lang="en-US" sz="800" dirty="0"/>
              <a:t> 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CEDA8B90-A453-24C3-57F2-F7A2006261B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34454" y="2491879"/>
            <a:ext cx="8919128" cy="3887377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3B21F820-2354-7F9F-72F7-3DF0F0EE00B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B6C1B145-FF8F-DED4-F380-B12F10F179B5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190316C0-A0E0-B8A1-12B2-DA7111E0132B}"/>
              </a:ext>
            </a:extLst>
          </p:cNvPr>
          <p:cNvCxnSpPr>
            <a:cxnSpLocks/>
          </p:cNvCxnSpPr>
          <p:nvPr/>
        </p:nvCxnSpPr>
        <p:spPr>
          <a:xfrm>
            <a:off x="1031892" y="636824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64601E79-906F-4AA3-7ACB-02A8192551CF}"/>
              </a:ext>
            </a:extLst>
          </p:cNvPr>
          <p:cNvSpPr/>
          <p:nvPr/>
        </p:nvSpPr>
        <p:spPr>
          <a:xfrm>
            <a:off x="1108573" y="2541238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911654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CF65997-ACAE-BB55-97AD-11941A96D6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F5D6FC64-D9D4-800A-61CE-195E8AC834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A4060DE-E969-DDA8-70D9-F5C6193D05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53FBAC6-0F8A-5819-623B-C9A724A058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0F24D0C-6EF2-6EF5-5F6C-70670897F08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04F06B5-BA39-33D3-2373-8ACB14CCBF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logo2-04.png" descr="logo2-04.png">
            <a:extLst>
              <a:ext uri="{FF2B5EF4-FFF2-40B4-BE49-F238E27FC236}">
                <a16:creationId xmlns:a16="http://schemas.microsoft.com/office/drawing/2014/main" id="{51713BBD-5B91-5421-17F1-D38D288194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751C9E3F-B34A-C3D7-BAC1-2C04894AB6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EEB768B-C01F-B3B4-38EC-5A2512F3BE40}"/>
              </a:ext>
            </a:extLst>
          </p:cNvPr>
          <p:cNvSpPr txBox="1"/>
          <p:nvPr/>
        </p:nvSpPr>
        <p:spPr>
          <a:xfrm>
            <a:off x="184458" y="6512612"/>
            <a:ext cx="609407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hlinkClick r:id="rId3"/>
              </a:rPr>
              <a:t>https://www.ibm.com/support/pages/lifecycle/search?q=ibm%20api%20connect</a:t>
            </a:r>
            <a:r>
              <a:rPr lang="en-US" sz="800" dirty="0"/>
              <a:t>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4A20081-F0AC-BD2E-7A00-0383C5924B6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8F48FEC-A9B5-CB3B-EDEB-B412AF390B2E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ED38AE92-EEDC-3CAC-FE9B-2354E210AD7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73809" y="2482536"/>
            <a:ext cx="8905519" cy="2971344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42569FA-5257-42BF-28D1-E78222468705}"/>
              </a:ext>
            </a:extLst>
          </p:cNvPr>
          <p:cNvSpPr/>
          <p:nvPr/>
        </p:nvSpPr>
        <p:spPr>
          <a:xfrm>
            <a:off x="1108573" y="2497170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CE8CC49-BDDB-D8AB-F2B3-CF2D9415FAFD}"/>
              </a:ext>
            </a:extLst>
          </p:cNvPr>
          <p:cNvCxnSpPr>
            <a:cxnSpLocks/>
          </p:cNvCxnSpPr>
          <p:nvPr/>
        </p:nvCxnSpPr>
        <p:spPr>
          <a:xfrm>
            <a:off x="1031892" y="5409774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2510335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DE0578CB-78FB-5397-1359-5C5C755F3C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3E658CE5-AE70-ED8E-11F9-CC2F726D0B5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2A5ACD1-A7C0-E2EB-0BAA-737BCD3F37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3E15A48-36D4-ABEF-56C2-7D386A2C33E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376446B-0F96-82E9-4AF2-15CA650455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BEE8C95-0E36-173E-8715-1B9AC3E7AB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logo2-04.png" descr="logo2-04.png">
            <a:extLst>
              <a:ext uri="{FF2B5EF4-FFF2-40B4-BE49-F238E27FC236}">
                <a16:creationId xmlns:a16="http://schemas.microsoft.com/office/drawing/2014/main" id="{265AA21A-AA04-DDF5-3B08-F22159C8A94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3AD21E17-EDD4-55A6-4382-2043371C0D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E82BDF9-8106-69CE-F2C1-88EF934FB324}"/>
              </a:ext>
            </a:extLst>
          </p:cNvPr>
          <p:cNvSpPr txBox="1"/>
          <p:nvPr/>
        </p:nvSpPr>
        <p:spPr>
          <a:xfrm>
            <a:off x="184458" y="6385290"/>
            <a:ext cx="609407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hlinkClick r:id="rId3"/>
              </a:rPr>
              <a:t>https://www.ibm.com/support/pages/lifecycle/search?q=ibm%20api%20connect</a:t>
            </a:r>
            <a:r>
              <a:rPr lang="en-US" sz="800" dirty="0"/>
              <a:t> </a:t>
            </a:r>
          </a:p>
          <a:p>
            <a:r>
              <a:rPr lang="en-US" sz="800" dirty="0">
                <a:hlinkClick r:id="rId4"/>
              </a:rPr>
              <a:t>https://www.ibm.com/support/pages/lifecycle/search?q=ibm%20event%20automation</a:t>
            </a:r>
            <a:r>
              <a:rPr lang="en-US" sz="800" dirty="0"/>
              <a:t>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710EFD7-95AD-D6AF-E480-620E0858FDB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12880" y="2572947"/>
            <a:ext cx="9916038" cy="96346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74E65B8-897D-9DDE-F814-9365CFDB6AD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17351AA-E240-6693-7627-CBC4713B0C6D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BCB73C42-95E9-6521-881F-CDBBBA269525}"/>
              </a:ext>
            </a:extLst>
          </p:cNvPr>
          <p:cNvSpPr/>
          <p:nvPr/>
        </p:nvSpPr>
        <p:spPr>
          <a:xfrm>
            <a:off x="1108573" y="2574289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71132BA-A0E4-47B0-9845-170FD0DBAB88}"/>
              </a:ext>
            </a:extLst>
          </p:cNvPr>
          <p:cNvCxnSpPr>
            <a:cxnSpLocks/>
          </p:cNvCxnSpPr>
          <p:nvPr/>
        </p:nvCxnSpPr>
        <p:spPr>
          <a:xfrm>
            <a:off x="1031892" y="3536414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6654930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9A6BFFEC-1304-3A5C-BFF8-2991C5E9A961}"/>
              </a:ext>
            </a:extLst>
          </p:cNvPr>
          <p:cNvSpPr txBox="1">
            <a:spLocks/>
          </p:cNvSpPr>
          <p:nvPr/>
        </p:nvSpPr>
        <p:spPr bwMode="auto">
          <a:xfrm>
            <a:off x="280417" y="268224"/>
            <a:ext cx="8530609" cy="4516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5pPr>
            <a:lvl6pPr marL="36256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HelvNeue Light for IBM" pitchFamily="34" charset="0"/>
              </a:defRPr>
            </a:lvl6pPr>
            <a:lvl7pPr marL="72513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HelvNeue Light for IBM" pitchFamily="34" charset="0"/>
              </a:defRPr>
            </a:lvl7pPr>
            <a:lvl8pPr marL="1087707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HelvNeue Light for IBM" pitchFamily="34" charset="0"/>
              </a:defRPr>
            </a:lvl8pPr>
            <a:lvl9pPr marL="1450276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HelvNeue Light for IBM" pitchFamily="34" charset="0"/>
              </a:defRPr>
            </a:lvl9pPr>
          </a:lstStyle>
          <a:p>
            <a:pPr marL="0" marR="0" lvl="0" indent="0" algn="l" defTabSz="121917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4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" panose="020B0503050203000203" pitchFamily="34" charset="0"/>
              </a:rPr>
              <a:t>Agenda</a:t>
            </a:r>
            <a:endParaRPr kumimoji="0" lang="en-US" sz="4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" panose="020B0503050203000203" pitchFamily="34" charset="0"/>
            </a:endParaRPr>
          </a:p>
        </p:txBody>
      </p:sp>
      <p:pic>
        <p:nvPicPr>
          <p:cNvPr id="9" name="Picture 8" descr="A picture containing text&#10;&#10;Description automatically generated">
            <a:extLst>
              <a:ext uri="{FF2B5EF4-FFF2-40B4-BE49-F238E27FC236}">
                <a16:creationId xmlns:a16="http://schemas.microsoft.com/office/drawing/2014/main" id="{4F13B2B3-0098-14C6-4598-640B655A995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E09BA1D0-45F1-1660-384B-4B1043BFC997}"/>
              </a:ext>
            </a:extLst>
          </p:cNvPr>
          <p:cNvSpPr txBox="1"/>
          <p:nvPr/>
        </p:nvSpPr>
        <p:spPr>
          <a:xfrm>
            <a:off x="280417" y="1596147"/>
            <a:ext cx="6661906" cy="39087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80990" indent="-380990">
              <a:spcAft>
                <a:spcPts val="1600"/>
              </a:spcAft>
              <a:buFont typeface="Arial" panose="020B0604020202020204" pitchFamily="34" charset="0"/>
              <a:buChar char="•"/>
              <a:defRPr/>
            </a:pPr>
            <a:r>
              <a:rPr lang="en-US" sz="2400" dirty="0" err="1"/>
              <a:t>Apresentação</a:t>
            </a:r>
            <a:r>
              <a:rPr lang="en-US" sz="2400" dirty="0"/>
              <a:t> do CSM</a:t>
            </a:r>
          </a:p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Licenciamento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 / Licenses</a:t>
            </a:r>
          </a:p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pt-BR" sz="2400" dirty="0">
                <a:solidFill>
                  <a:srgbClr val="000000"/>
                </a:solidFill>
                <a:latin typeface="Calibri" panose="020F0502020204030204"/>
                <a:ea typeface="IBM Plex Sans" charset="0"/>
                <a:cs typeface="IBM Plex Sans" charset="0"/>
              </a:rPr>
              <a:t>Ciclo de vida / </a:t>
            </a:r>
            <a:r>
              <a:rPr lang="en-US" sz="2400" dirty="0">
                <a:solidFill>
                  <a:srgbClr val="000000"/>
                </a:solidFill>
                <a:latin typeface="Calibri" panose="020F0502020204030204"/>
                <a:ea typeface="IBM Plex Sans" charset="0"/>
                <a:cs typeface="IBM Plex Sans" charset="0"/>
              </a:rPr>
              <a:t>Product Lifecycle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IBM Plex Sans" charset="0"/>
              <a:cs typeface="IBM Plex Sans" charset="0"/>
            </a:endParaRPr>
          </a:p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Atividades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 / Activities</a:t>
            </a:r>
          </a:p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Desafios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 / Challenges</a:t>
            </a:r>
          </a:p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Chamados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 / Cases</a:t>
            </a:r>
          </a:p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Pontos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adicionais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 / Additional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infos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IBM Plex Sans" charset="0"/>
              <a:cs typeface="IBM Plex Sans" charset="0"/>
            </a:endParaRPr>
          </a:p>
        </p:txBody>
      </p: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666C7F2F-6226-68C2-8804-B15852190F8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84093242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221F70DC-4976-0C27-8145-4C09FD39D7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31C69DE6-46CA-4B05-947F-A3539849EBC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FF8B246-281B-E04A-3202-4EB750A030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935DE83-148A-7728-FAF8-455EA9D0B6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5BCCEDB-AC97-3D73-2A0B-48CFDA14EF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282DBD6-2A6B-44A3-9A0F-C7513CB497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23F15D5-01E7-9E5C-35C5-CDED6F95FD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pic>
        <p:nvPicPr>
          <p:cNvPr id="3" name="logo2-04.png" descr="logo2-04.png">
            <a:extLst>
              <a:ext uri="{FF2B5EF4-FFF2-40B4-BE49-F238E27FC236}">
                <a16:creationId xmlns:a16="http://schemas.microsoft.com/office/drawing/2014/main" id="{1ACF8142-98EA-AF53-4F42-8034F371AE2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840C3F43-9D38-1BC5-1F15-763D139D0C2B}"/>
              </a:ext>
            </a:extLst>
          </p:cNvPr>
          <p:cNvSpPr txBox="1"/>
          <p:nvPr/>
        </p:nvSpPr>
        <p:spPr>
          <a:xfrm>
            <a:off x="184458" y="6593636"/>
            <a:ext cx="609407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hlinkClick r:id="rId3"/>
              </a:rPr>
              <a:t>https://www.ibm.com/support/pages/lifecycle/search/?q=aspera</a:t>
            </a:r>
            <a:r>
              <a:rPr lang="en-US" sz="800" dirty="0"/>
              <a:t> 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58D3786-4ED6-9D34-D62C-F0D7BA3991E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A065DB45-1BA4-9DDD-437B-FB4C313620A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08573" y="2574289"/>
            <a:ext cx="9875244" cy="3427141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130FDFF-0A0A-D7E5-7D3A-1A12DE670773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1FB654B2-4AC7-5014-C83E-D111AE9E34FE}"/>
              </a:ext>
            </a:extLst>
          </p:cNvPr>
          <p:cNvSpPr/>
          <p:nvPr/>
        </p:nvSpPr>
        <p:spPr>
          <a:xfrm>
            <a:off x="1108573" y="2574289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D72F5B2A-B84E-A339-183E-030DB97A5973}"/>
              </a:ext>
            </a:extLst>
          </p:cNvPr>
          <p:cNvCxnSpPr>
            <a:cxnSpLocks/>
          </p:cNvCxnSpPr>
          <p:nvPr/>
        </p:nvCxnSpPr>
        <p:spPr>
          <a:xfrm>
            <a:off x="1031892" y="6012446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>
            <a:extLst>
              <a:ext uri="{FF2B5EF4-FFF2-40B4-BE49-F238E27FC236}">
                <a16:creationId xmlns:a16="http://schemas.microsoft.com/office/drawing/2014/main" id="{127D3129-AEA6-2F9D-BDA0-D48B78EB37E2}"/>
              </a:ext>
            </a:extLst>
          </p:cNvPr>
          <p:cNvSpPr/>
          <p:nvPr/>
        </p:nvSpPr>
        <p:spPr>
          <a:xfrm>
            <a:off x="1108573" y="4031263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4324F74C-9FAC-8B9A-CB15-F49196AA7674}"/>
              </a:ext>
            </a:extLst>
          </p:cNvPr>
          <p:cNvSpPr/>
          <p:nvPr/>
        </p:nvSpPr>
        <p:spPr>
          <a:xfrm>
            <a:off x="1108573" y="5162279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750147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B23408A4-E10E-0D74-5A45-F1154A09ED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AE00831B-CC24-C88F-99C4-B6F0B25FF7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3C8BB79-7CBD-2D5D-1DC0-A4F31B2317A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E738B0D-E51B-4590-081E-0A3FAD5DC4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91EA051-DFFB-DBCA-CBD5-D8AB1B1100F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F980ABE-E143-B259-89D0-21DB45215FE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A4DD34A-EE30-866E-AC27-0DD2358CD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pic>
        <p:nvPicPr>
          <p:cNvPr id="3" name="logo2-04.png" descr="logo2-04.png">
            <a:extLst>
              <a:ext uri="{FF2B5EF4-FFF2-40B4-BE49-F238E27FC236}">
                <a16:creationId xmlns:a16="http://schemas.microsoft.com/office/drawing/2014/main" id="{24BF46C4-C34E-00A2-7C26-3736D80E620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C6CB79F7-D492-D37E-0F1D-DE7063C56357}"/>
              </a:ext>
            </a:extLst>
          </p:cNvPr>
          <p:cNvSpPr txBox="1"/>
          <p:nvPr/>
        </p:nvSpPr>
        <p:spPr>
          <a:xfrm>
            <a:off x="184458" y="6593636"/>
            <a:ext cx="609407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hlinkClick r:id="rId3"/>
              </a:rPr>
              <a:t>https://www.ibm.com/support/pages/lifecycle/search/?q=aspera</a:t>
            </a:r>
            <a:r>
              <a:rPr lang="en-US" sz="800" dirty="0"/>
              <a:t> 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DBBF180-1475-56C7-7C5C-6A251D8DDCC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D0ECDCC7-5AC4-A90D-470A-65F30E84F7EC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10951" r="8808" b="10334"/>
          <a:stretch/>
        </p:blipFill>
        <p:spPr>
          <a:xfrm>
            <a:off x="1108573" y="2616943"/>
            <a:ext cx="8734180" cy="3483639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B0159C9-4405-7FC8-6EE3-82EDB9C27C07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73A5B81B-E020-9DB3-F53E-0254E8E5D4EE}"/>
              </a:ext>
            </a:extLst>
          </p:cNvPr>
          <p:cNvSpPr/>
          <p:nvPr/>
        </p:nvSpPr>
        <p:spPr>
          <a:xfrm>
            <a:off x="1108573" y="2574289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F7F1292C-A259-D462-B00D-759A4CDD20FC}"/>
              </a:ext>
            </a:extLst>
          </p:cNvPr>
          <p:cNvCxnSpPr>
            <a:cxnSpLocks/>
          </p:cNvCxnSpPr>
          <p:nvPr/>
        </p:nvCxnSpPr>
        <p:spPr>
          <a:xfrm>
            <a:off x="1031892" y="6100582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>
            <a:extLst>
              <a:ext uri="{FF2B5EF4-FFF2-40B4-BE49-F238E27FC236}">
                <a16:creationId xmlns:a16="http://schemas.microsoft.com/office/drawing/2014/main" id="{6139AF2E-64BE-66B1-20B9-31D9C27BC9CF}"/>
              </a:ext>
            </a:extLst>
          </p:cNvPr>
          <p:cNvSpPr/>
          <p:nvPr/>
        </p:nvSpPr>
        <p:spPr>
          <a:xfrm>
            <a:off x="1108573" y="4853885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086031C-A614-F9CF-CC1B-12540572A001}"/>
              </a:ext>
            </a:extLst>
          </p:cNvPr>
          <p:cNvSpPr/>
          <p:nvPr/>
        </p:nvSpPr>
        <p:spPr>
          <a:xfrm>
            <a:off x="1108573" y="3478219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415541D-8502-D170-F591-58A4269A13AD}"/>
              </a:ext>
            </a:extLst>
          </p:cNvPr>
          <p:cNvSpPr/>
          <p:nvPr/>
        </p:nvSpPr>
        <p:spPr>
          <a:xfrm>
            <a:off x="1108573" y="5692106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631406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08C82F91-A99C-B77C-7FF1-5714DEE4AF23}"/>
              </a:ext>
            </a:extLst>
          </p:cNvPr>
          <p:cNvSpPr txBox="1"/>
          <p:nvPr/>
        </p:nvSpPr>
        <p:spPr>
          <a:xfrm>
            <a:off x="791927" y="417441"/>
            <a:ext cx="2830949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loud Pak for Integration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A4E927D-93FF-0470-9135-AF827355FA62}"/>
              </a:ext>
            </a:extLst>
          </p:cNvPr>
          <p:cNvSpPr txBox="1"/>
          <p:nvPr/>
        </p:nvSpPr>
        <p:spPr>
          <a:xfrm>
            <a:off x="794743" y="2626382"/>
            <a:ext cx="259544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0" i="0" dirty="0">
                <a:solidFill>
                  <a:schemeClr val="bg1"/>
                </a:solidFill>
                <a:effectLst/>
                <a:latin typeface="IBM Plex Sans" panose="020B0503050203000203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BM API Connect®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BDB2708-1E2A-019A-57B4-BDBF6479F45C}"/>
              </a:ext>
            </a:extLst>
          </p:cNvPr>
          <p:cNvSpPr txBox="1"/>
          <p:nvPr/>
        </p:nvSpPr>
        <p:spPr>
          <a:xfrm>
            <a:off x="794743" y="3097105"/>
            <a:ext cx="209212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0" i="0" dirty="0">
                <a:solidFill>
                  <a:schemeClr val="bg1"/>
                </a:solidFill>
                <a:effectLst/>
                <a:latin typeface="IBM Plex Sans" panose="020B0503050203000203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BM App Connect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6B2AB7B-09B9-5BF5-B713-9378BA5679AF}"/>
              </a:ext>
            </a:extLst>
          </p:cNvPr>
          <p:cNvSpPr txBox="1"/>
          <p:nvPr/>
        </p:nvSpPr>
        <p:spPr>
          <a:xfrm>
            <a:off x="794743" y="3567828"/>
            <a:ext cx="277656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0" i="0" dirty="0">
                <a:solidFill>
                  <a:schemeClr val="bg1"/>
                </a:solidFill>
                <a:effectLst/>
                <a:latin typeface="IBM Plex Sans" panose="020B0503050203000203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BM Event Automation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2ECE741-EC5F-40C0-9DE2-0BC8AE862767}"/>
              </a:ext>
            </a:extLst>
          </p:cNvPr>
          <p:cNvSpPr txBox="1"/>
          <p:nvPr/>
        </p:nvSpPr>
        <p:spPr>
          <a:xfrm>
            <a:off x="794743" y="4038551"/>
            <a:ext cx="259544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0" i="0" dirty="0">
                <a:solidFill>
                  <a:schemeClr val="bg1"/>
                </a:solidFill>
                <a:effectLst/>
                <a:latin typeface="IBM Plex Sans" panose="020B0503050203000203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BM MQ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8901656-5693-1F0E-B7CD-76A4C0CDED6A}"/>
              </a:ext>
            </a:extLst>
          </p:cNvPr>
          <p:cNvSpPr txBox="1"/>
          <p:nvPr/>
        </p:nvSpPr>
        <p:spPr>
          <a:xfrm>
            <a:off x="794743" y="4513975"/>
            <a:ext cx="259544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pt-BR"/>
            </a:defPPr>
            <a:lvl1pPr>
              <a:defRPr b="0" i="0">
                <a:solidFill>
                  <a:srgbClr val="161616"/>
                </a:solidFill>
                <a:effectLst/>
                <a:latin typeface="IBM Plex Sans" panose="020B0503050203000203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BM Aspera®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6A7C2AC-EC43-DC92-0B6E-EA878264C49D}"/>
              </a:ext>
            </a:extLst>
          </p:cNvPr>
          <p:cNvSpPr txBox="1"/>
          <p:nvPr/>
        </p:nvSpPr>
        <p:spPr>
          <a:xfrm>
            <a:off x="791927" y="4946697"/>
            <a:ext cx="333564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pt-BR"/>
            </a:defPPr>
            <a:lvl1pPr>
              <a:defRPr b="0" i="0">
                <a:solidFill>
                  <a:srgbClr val="161616"/>
                </a:solidFill>
                <a:effectLst/>
                <a:latin typeface="IBM Plex Sans" panose="020B0503050203000203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BM DataPower® Gateway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D7BDBDE-713C-4705-6471-3B875432DF6E}"/>
              </a:ext>
            </a:extLst>
          </p:cNvPr>
          <p:cNvSpPr txBox="1"/>
          <p:nvPr/>
        </p:nvSpPr>
        <p:spPr>
          <a:xfrm>
            <a:off x="4808997" y="6481785"/>
            <a:ext cx="6094070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00" dirty="0">
                <a:hlinkClick r:id="rId8"/>
              </a:rPr>
              <a:t>https://www.ibm.com/br-pt/cloud-paks</a:t>
            </a:r>
            <a:r>
              <a:rPr lang="en-US" sz="300" dirty="0"/>
              <a:t> </a:t>
            </a:r>
          </a:p>
          <a:p>
            <a:r>
              <a:rPr lang="en-US" sz="300" dirty="0">
                <a:hlinkClick r:id="rId9"/>
              </a:rPr>
              <a:t>https://www.ibm.com/integration</a:t>
            </a:r>
            <a:r>
              <a:rPr lang="en-US" sz="300" dirty="0"/>
              <a:t> </a:t>
            </a:r>
          </a:p>
          <a:p>
            <a:r>
              <a:rPr lang="en-US" sz="300" dirty="0">
                <a:hlinkClick r:id="rId10"/>
              </a:rPr>
              <a:t>https://www.ibm.com/docs/en/cloud-paks/cp-integration/2023.4?topic=planning-licensing</a:t>
            </a:r>
            <a:r>
              <a:rPr lang="en-US" sz="300" dirty="0"/>
              <a:t> </a:t>
            </a:r>
          </a:p>
          <a:p>
            <a:r>
              <a:rPr lang="en-US" sz="300" dirty="0">
                <a:hlinkClick r:id="rId11"/>
              </a:rPr>
              <a:t>https://www.ibm.com/docs/pt-br/process-mining/1.14.4?topic=installation-installing-process-mining-in-cloud-pak</a:t>
            </a:r>
            <a:r>
              <a:rPr lang="en-US" sz="300" dirty="0"/>
              <a:t> </a:t>
            </a:r>
          </a:p>
          <a:p>
            <a:r>
              <a:rPr lang="en-US" sz="300" dirty="0">
                <a:hlinkClick r:id="rId12"/>
              </a:rPr>
              <a:t>https://www.ibm.com/docs/en/rpa/23.0?topic=server-installing-rpa-other-cloud-paks</a:t>
            </a:r>
            <a:r>
              <a:rPr lang="en-US" sz="300" dirty="0"/>
              <a:t> 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ABCB8FFE-3EF7-3666-F487-709B18C04249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251619" y="957963"/>
            <a:ext cx="6094070" cy="2611744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AB592560-4EA0-8DCF-B855-891EBA94A62F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251619" y="3569707"/>
            <a:ext cx="6635014" cy="2704719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8402067-BB51-1666-D2D9-E4E602211FC6}"/>
              </a:ext>
            </a:extLst>
          </p:cNvPr>
          <p:cNvSpPr txBox="1"/>
          <p:nvPr/>
        </p:nvSpPr>
        <p:spPr>
          <a:xfrm>
            <a:off x="791926" y="5815145"/>
            <a:ext cx="402603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pt-BR"/>
            </a:defPPr>
            <a:lvl1pPr>
              <a:defRPr b="0" i="0">
                <a:solidFill>
                  <a:srgbClr val="161616"/>
                </a:solidFill>
                <a:effectLst/>
                <a:latin typeface="IBM Plex Sans" panose="020B0503050203000203" pitchFamily="34" charset="0"/>
              </a:defRPr>
            </a:lvl1pPr>
          </a:lstStyle>
          <a:p>
            <a:pPr algn="l"/>
            <a:r>
              <a:rPr lang="en-US" dirty="0">
                <a:solidFill>
                  <a:schemeClr val="bg1"/>
                </a:solidFill>
                <a:hlinkClick r:id="rId1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BM Robotic Process Automation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00FC890-56D3-0B9B-F953-E940310095B4}"/>
              </a:ext>
            </a:extLst>
          </p:cNvPr>
          <p:cNvSpPr txBox="1"/>
          <p:nvPr/>
        </p:nvSpPr>
        <p:spPr>
          <a:xfrm>
            <a:off x="791927" y="6265715"/>
            <a:ext cx="333564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pt-BR"/>
            </a:defPPr>
            <a:lvl1pPr>
              <a:defRPr b="0" i="0">
                <a:solidFill>
                  <a:srgbClr val="161616"/>
                </a:solidFill>
                <a:effectLst/>
                <a:latin typeface="IBM Plex Sans" panose="020B0503050203000203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  <a:hlinkClick r:id="rId1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BM Process Mining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0592B4B-7614-2E4C-D54B-D1454B263905}"/>
              </a:ext>
            </a:extLst>
          </p:cNvPr>
          <p:cNvSpPr txBox="1"/>
          <p:nvPr/>
        </p:nvSpPr>
        <p:spPr>
          <a:xfrm>
            <a:off x="496005" y="5421609"/>
            <a:ext cx="382489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BM Plex Sans" panose="020B0503050203000203" pitchFamily="34" charset="0"/>
              </a:rPr>
              <a:t>Foundational Servic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D66939F-EB1D-B1A3-D5A2-33BACFB77688}"/>
              </a:ext>
            </a:extLst>
          </p:cNvPr>
          <p:cNvSpPr txBox="1"/>
          <p:nvPr/>
        </p:nvSpPr>
        <p:spPr>
          <a:xfrm>
            <a:off x="496005" y="2275699"/>
            <a:ext cx="382489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BM Plex Sans" panose="020B0503050203000203" pitchFamily="34" charset="0"/>
              </a:rPr>
              <a:t>CP4I</a:t>
            </a:r>
          </a:p>
        </p:txBody>
      </p:sp>
    </p:spTree>
    <p:extLst>
      <p:ext uri="{BB962C8B-B14F-4D97-AF65-F5344CB8AC3E}">
        <p14:creationId xmlns:p14="http://schemas.microsoft.com/office/powerpoint/2010/main" val="215993692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041DE96-5C4A-70ED-C5D5-D0DD877CE5E2}"/>
              </a:ext>
            </a:extLst>
          </p:cNvPr>
          <p:cNvSpPr/>
          <p:nvPr/>
        </p:nvSpPr>
        <p:spPr bwMode="auto">
          <a:xfrm>
            <a:off x="6795248" y="0"/>
            <a:ext cx="5396752" cy="6858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defTabSz="685966">
              <a:defRPr/>
            </a:pPr>
            <a:endParaRPr lang="en-US" sz="1400" dirty="0">
              <a:solidFill>
                <a:srgbClr val="000000"/>
              </a:solidFill>
              <a:latin typeface="IBM Plex Sans" panose="020B0503050203000203" pitchFamily="34" charset="0"/>
              <a:ea typeface="IBM Plex Sans" charset="0"/>
              <a:cs typeface="IBM Plex Sans" charset="0"/>
              <a:sym typeface="Helvetica Neue"/>
            </a:endParaRPr>
          </a:p>
        </p:txBody>
      </p:sp>
      <p:pic>
        <p:nvPicPr>
          <p:cNvPr id="3" name="Picture 2" descr="IBM Logo - PNG e Vetor - Download de Logo">
            <a:extLst>
              <a:ext uri="{FF2B5EF4-FFF2-40B4-BE49-F238E27FC236}">
                <a16:creationId xmlns:a16="http://schemas.microsoft.com/office/drawing/2014/main" id="{257C2506-D653-7D4C-8941-DF39C48F01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0780" y="3141314"/>
            <a:ext cx="1424355" cy="575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612CA610-F49F-5B35-900C-4862CDFCD58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247" t="1553" r="5237" b="2378"/>
          <a:stretch/>
        </p:blipFill>
        <p:spPr>
          <a:xfrm>
            <a:off x="7014211" y="2934568"/>
            <a:ext cx="974725" cy="97155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3118A30-CDC0-181B-CDB8-3B05005195A9}"/>
              </a:ext>
            </a:extLst>
          </p:cNvPr>
          <p:cNvSpPr txBox="1"/>
          <p:nvPr/>
        </p:nvSpPr>
        <p:spPr>
          <a:xfrm>
            <a:off x="8044711" y="2884757"/>
            <a:ext cx="414728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/>
              <a:t>Alexandre Zanetti</a:t>
            </a:r>
          </a:p>
          <a:p>
            <a:r>
              <a:rPr lang="pt-BR" sz="1200" dirty="0"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lexandre.zanetti@br.ibm.com</a:t>
            </a:r>
            <a:endParaRPr lang="pt-BR" sz="1200" dirty="0"/>
          </a:p>
          <a:p>
            <a:r>
              <a:rPr lang="en-US" sz="1200" dirty="0"/>
              <a:t>55 (11) 98539-4632</a:t>
            </a:r>
          </a:p>
          <a:p>
            <a:r>
              <a:rPr lang="en-US" sz="1200" dirty="0">
                <a:effectLst/>
              </a:rPr>
              <a:t>Advisory Customer Success Manager Technical Specialist</a:t>
            </a:r>
          </a:p>
        </p:txBody>
      </p:sp>
    </p:spTree>
    <p:extLst>
      <p:ext uri="{BB962C8B-B14F-4D97-AF65-F5344CB8AC3E}">
        <p14:creationId xmlns:p14="http://schemas.microsoft.com/office/powerpoint/2010/main" val="370123116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B28408D-88D8-4B83-AE71-1294D5961C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B28408D-88D8-4B83-AE71-1294D5961C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A03248A-BDA0-4D8E-8451-A0C804B42F58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914621">
              <a:defRPr/>
            </a:pPr>
            <a:endParaRPr lang="en-US" sz="5867" dirty="0">
              <a:solidFill>
                <a:srgbClr val="000000"/>
              </a:solidFill>
              <a:latin typeface="IBM Plex Sans" panose="020B0503050203000203" pitchFamily="34" charset="0"/>
              <a:ea typeface="IBM Plex Sans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Slide Number Placeholder"/>
          <p:cNvSpPr>
            <a:spLocks noGrp="1"/>
          </p:cNvSpPr>
          <p:nvPr>
            <p:ph type="sldNum" sz="quarter" idx="11"/>
          </p:nvPr>
        </p:nvSpPr>
        <p:spPr>
          <a:xfrm>
            <a:off x="9448802" y="6383868"/>
            <a:ext cx="2438309" cy="222249"/>
          </a:xfrm>
        </p:spPr>
        <p:txBody>
          <a:bodyPr/>
          <a:lstStyle/>
          <a:p>
            <a:pPr defTabSz="914621">
              <a:defRPr/>
            </a:pPr>
            <a:fld id="{59395FB3-9C97-154F-86B2-7E381B951268}" type="slidenum">
              <a:rPr lang="en-US" sz="900">
                <a:solidFill>
                  <a:srgbClr val="000000"/>
                </a:solidFill>
              </a:rPr>
              <a:pPr defTabSz="914621">
                <a:defRPr/>
              </a:pPr>
              <a:t>3</a:t>
            </a:fld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6" name="… is to engage with you as you deploy, adopt and use IBM technology to ensure that [Client Name]  obtains the most value possible from our offerings.">
            <a:extLst>
              <a:ext uri="{FF2B5EF4-FFF2-40B4-BE49-F238E27FC236}">
                <a16:creationId xmlns:a16="http://schemas.microsoft.com/office/drawing/2014/main" id="{0B61165B-76B7-41CF-AF0D-6EF2A7AC4F28}"/>
              </a:ext>
            </a:extLst>
          </p:cNvPr>
          <p:cNvSpPr txBox="1">
            <a:spLocks/>
          </p:cNvSpPr>
          <p:nvPr/>
        </p:nvSpPr>
        <p:spPr>
          <a:xfrm>
            <a:off x="495345" y="1905000"/>
            <a:ext cx="11201311" cy="3427908"/>
          </a:xfrm>
          <a:prstGeom prst="rect">
            <a:avLst/>
          </a:prstGeom>
        </p:spPr>
        <p:txBody>
          <a:bodyPr wrap="square" anchor="t"/>
          <a:lstStyle>
            <a:lvl1pPr marL="0" indent="0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IBM Plex Sans" pitchFamily="2" charset="2"/>
              <a:buNone/>
              <a:defRPr sz="1867" b="0" i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1pPr>
            <a:lvl2pPr marL="228597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bg1"/>
              </a:buClr>
              <a:buSzPct val="100000"/>
              <a:buFont typeface="IBM Plex Sans" charset="-120"/>
              <a:buChar char="–"/>
              <a:tabLst/>
              <a:defRPr sz="1867" b="0" i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2pPr>
            <a:lvl3pPr marL="457195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  <a:tabLst/>
              <a:defRPr sz="1867" b="0" i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3pPr>
            <a:lvl4pPr marL="838190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bg1"/>
              </a:buClr>
              <a:buSzPct val="100000"/>
              <a:buFont typeface="IBM Plex Sans" charset="-120"/>
              <a:buChar char="–"/>
              <a:tabLst/>
              <a:defRPr sz="1867" b="0" i="0" baseline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4pPr>
            <a:lvl5pPr marL="1071020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bg1"/>
              </a:buClr>
              <a:buFont typeface="IBM Plex Sans" charset="-120"/>
              <a:buChar char="»"/>
              <a:tabLst/>
              <a:defRPr sz="1867" b="0" i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5pPr>
            <a:lvl6pPr marL="2111575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6pPr>
            <a:lvl7pPr marL="2594990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7pPr>
            <a:lvl8pPr marL="3078403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8pPr>
            <a:lvl9pPr marL="3561818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9pPr>
          </a:lstStyle>
          <a:p>
            <a:pPr>
              <a:defRPr sz="9300"/>
            </a:pPr>
            <a:r>
              <a:rPr lang="en-US" sz="4000" kern="0" dirty="0">
                <a:solidFill>
                  <a:schemeClr val="tx1"/>
                </a:solidFill>
              </a:rPr>
              <a:t>… é </a:t>
            </a:r>
            <a:r>
              <a:rPr lang="en-US" sz="4000" kern="0" dirty="0" err="1">
                <a:solidFill>
                  <a:schemeClr val="tx1"/>
                </a:solidFill>
              </a:rPr>
              <a:t>engajar</a:t>
            </a:r>
            <a:r>
              <a:rPr lang="en-US" sz="4000" kern="0" dirty="0">
                <a:solidFill>
                  <a:schemeClr val="tx1"/>
                </a:solidFill>
              </a:rPr>
              <a:t> com o </a:t>
            </a:r>
            <a:r>
              <a:rPr lang="en-US" sz="4000" kern="0" dirty="0" err="1">
                <a:solidFill>
                  <a:schemeClr val="tx1"/>
                </a:solidFill>
              </a:rPr>
              <a:t>cliente</a:t>
            </a:r>
            <a:r>
              <a:rPr lang="en-US" sz="4000" kern="0" dirty="0">
                <a:solidFill>
                  <a:schemeClr val="tx1"/>
                </a:solidFill>
              </a:rPr>
              <a:t> e </a:t>
            </a:r>
            <a:r>
              <a:rPr lang="en-US" sz="4000" kern="0" dirty="0" err="1">
                <a:solidFill>
                  <a:schemeClr val="tx1"/>
                </a:solidFill>
              </a:rPr>
              <a:t>parceiro</a:t>
            </a:r>
            <a:r>
              <a:rPr lang="en-US" sz="4000" kern="0" dirty="0">
                <a:solidFill>
                  <a:schemeClr val="tx1"/>
                </a:solidFill>
              </a:rPr>
              <a:t> </a:t>
            </a:r>
            <a:r>
              <a:rPr lang="en-US" sz="4000" kern="0" dirty="0" err="1">
                <a:solidFill>
                  <a:schemeClr val="tx1"/>
                </a:solidFill>
              </a:rPr>
              <a:t>durante</a:t>
            </a:r>
            <a:r>
              <a:rPr lang="en-US" sz="4000" kern="0" dirty="0">
                <a:solidFill>
                  <a:schemeClr val="tx1"/>
                </a:solidFill>
              </a:rPr>
              <a:t> a </a:t>
            </a:r>
            <a:r>
              <a:rPr lang="en-US" sz="4000" kern="0" dirty="0" err="1">
                <a:solidFill>
                  <a:schemeClr val="tx1"/>
                </a:solidFill>
              </a:rPr>
              <a:t>implementação</a:t>
            </a:r>
            <a:r>
              <a:rPr lang="en-US" sz="4000" kern="0" dirty="0">
                <a:solidFill>
                  <a:schemeClr val="tx1"/>
                </a:solidFill>
              </a:rPr>
              <a:t>, </a:t>
            </a:r>
            <a:r>
              <a:rPr lang="en-US" sz="4000" kern="0" dirty="0" err="1">
                <a:solidFill>
                  <a:schemeClr val="tx1"/>
                </a:solidFill>
              </a:rPr>
              <a:t>adoção</a:t>
            </a:r>
            <a:r>
              <a:rPr lang="en-US" sz="4000" kern="0" dirty="0">
                <a:solidFill>
                  <a:schemeClr val="tx1"/>
                </a:solidFill>
              </a:rPr>
              <a:t> e </a:t>
            </a:r>
            <a:r>
              <a:rPr lang="en-US" sz="4000" kern="0" dirty="0" err="1">
                <a:solidFill>
                  <a:schemeClr val="tx1"/>
                </a:solidFill>
              </a:rPr>
              <a:t>uso</a:t>
            </a:r>
            <a:r>
              <a:rPr lang="en-US" sz="4000" kern="0" dirty="0">
                <a:solidFill>
                  <a:schemeClr val="tx1"/>
                </a:solidFill>
              </a:rPr>
              <a:t> das </a:t>
            </a:r>
            <a:r>
              <a:rPr lang="en-US" sz="4000" kern="0" dirty="0" err="1">
                <a:solidFill>
                  <a:schemeClr val="tx1"/>
                </a:solidFill>
              </a:rPr>
              <a:t>tecnologias</a:t>
            </a:r>
            <a:r>
              <a:rPr lang="en-US" sz="4000" kern="0" dirty="0">
                <a:solidFill>
                  <a:schemeClr val="tx1"/>
                </a:solidFill>
              </a:rPr>
              <a:t> da IBM para </a:t>
            </a:r>
            <a:r>
              <a:rPr lang="en-US" sz="4000" kern="0" dirty="0" err="1">
                <a:solidFill>
                  <a:schemeClr val="tx1"/>
                </a:solidFill>
              </a:rPr>
              <a:t>garantir</a:t>
            </a:r>
            <a:r>
              <a:rPr lang="en-US" sz="4000" kern="0" dirty="0">
                <a:solidFill>
                  <a:schemeClr val="tx1"/>
                </a:solidFill>
              </a:rPr>
              <a:t> que o </a:t>
            </a:r>
            <a:r>
              <a:rPr lang="en-US" sz="4000" kern="0" dirty="0" err="1">
                <a:solidFill>
                  <a:schemeClr val="tx1"/>
                </a:solidFill>
              </a:rPr>
              <a:t>cliente</a:t>
            </a:r>
            <a:r>
              <a:rPr lang="en-US" sz="4000" kern="0" dirty="0">
                <a:solidFill>
                  <a:schemeClr val="tx1"/>
                </a:solidFill>
              </a:rPr>
              <a:t> </a:t>
            </a:r>
            <a:r>
              <a:rPr lang="en-US" sz="4000" kern="0" dirty="0" err="1">
                <a:solidFill>
                  <a:schemeClr val="tx1"/>
                </a:solidFill>
              </a:rPr>
              <a:t>obtenha</a:t>
            </a:r>
            <a:r>
              <a:rPr lang="en-US" sz="4000" kern="0" dirty="0">
                <a:solidFill>
                  <a:schemeClr val="tx1"/>
                </a:solidFill>
              </a:rPr>
              <a:t> o </a:t>
            </a:r>
            <a:r>
              <a:rPr lang="en-US" sz="4000" b="1" kern="0" dirty="0" err="1">
                <a:solidFill>
                  <a:srgbClr val="0F62FE"/>
                </a:solidFill>
                <a:latin typeface="IBM Plex Sans"/>
              </a:rPr>
              <a:t>máximo</a:t>
            </a:r>
            <a:r>
              <a:rPr lang="en-US" sz="4000" b="1" kern="0" dirty="0">
                <a:solidFill>
                  <a:srgbClr val="0F62FE"/>
                </a:solidFill>
                <a:latin typeface="IBM Plex Sans"/>
              </a:rPr>
              <a:t> valor </a:t>
            </a:r>
            <a:r>
              <a:rPr lang="en-US" sz="4000" b="1" kern="0" dirty="0" err="1">
                <a:solidFill>
                  <a:srgbClr val="0F62FE"/>
                </a:solidFill>
                <a:latin typeface="IBM Plex Sans"/>
              </a:rPr>
              <a:t>possível</a:t>
            </a:r>
            <a:r>
              <a:rPr lang="en-US" sz="4000" b="1" kern="0" dirty="0">
                <a:solidFill>
                  <a:srgbClr val="0F62FE"/>
                </a:solidFill>
                <a:latin typeface="IBM Plex Sans"/>
              </a:rPr>
              <a:t> </a:t>
            </a:r>
            <a:r>
              <a:rPr lang="en-US" sz="4000" kern="0" dirty="0">
                <a:solidFill>
                  <a:schemeClr val="tx1"/>
                </a:solidFill>
              </a:rPr>
              <a:t>das </a:t>
            </a:r>
            <a:r>
              <a:rPr lang="en-US" sz="4000" kern="0" dirty="0" err="1">
                <a:solidFill>
                  <a:schemeClr val="tx1"/>
                </a:solidFill>
              </a:rPr>
              <a:t>nossas</a:t>
            </a:r>
            <a:r>
              <a:rPr lang="en-US" sz="4000" kern="0" dirty="0">
                <a:solidFill>
                  <a:schemeClr val="tx1"/>
                </a:solidFill>
              </a:rPr>
              <a:t> </a:t>
            </a:r>
            <a:r>
              <a:rPr lang="en-US" sz="4000" kern="0" dirty="0" err="1">
                <a:solidFill>
                  <a:schemeClr val="tx1"/>
                </a:solidFill>
              </a:rPr>
              <a:t>ofertas</a:t>
            </a:r>
            <a:r>
              <a:rPr lang="en-US" sz="4000" kern="0" dirty="0">
                <a:solidFill>
                  <a:schemeClr val="tx1"/>
                </a:solidFill>
              </a:rPr>
              <a:t>. </a:t>
            </a:r>
          </a:p>
        </p:txBody>
      </p:sp>
      <p:sp>
        <p:nvSpPr>
          <p:cNvPr id="11" name="Title 5">
            <a:extLst>
              <a:ext uri="{FF2B5EF4-FFF2-40B4-BE49-F238E27FC236}">
                <a16:creationId xmlns:a16="http://schemas.microsoft.com/office/drawing/2014/main" id="{869F55DB-477E-42C6-A4C2-1C436616BD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320" y="274320"/>
            <a:ext cx="11612791" cy="763407"/>
          </a:xfrm>
        </p:spPr>
        <p:txBody>
          <a:bodyPr anchor="ctr">
            <a:normAutofit fontScale="90000"/>
          </a:bodyPr>
          <a:lstStyle/>
          <a:p>
            <a:r>
              <a:rPr lang="pt-BR" sz="3600" dirty="0">
                <a:solidFill>
                  <a:schemeClr val="tx1"/>
                </a:solidFill>
              </a:rPr>
              <a:t>A missão do </a:t>
            </a:r>
            <a:r>
              <a:rPr lang="pt-BR" sz="3600" dirty="0" err="1">
                <a:solidFill>
                  <a:schemeClr val="tx1"/>
                </a:solidFill>
              </a:rPr>
              <a:t>Customer</a:t>
            </a:r>
            <a:r>
              <a:rPr lang="pt-BR" sz="3600" dirty="0">
                <a:solidFill>
                  <a:schemeClr val="tx1"/>
                </a:solidFill>
              </a:rPr>
              <a:t> </a:t>
            </a:r>
            <a:r>
              <a:rPr lang="pt-BR" sz="3600" dirty="0" err="1">
                <a:solidFill>
                  <a:schemeClr val="tx1"/>
                </a:solidFill>
              </a:rPr>
              <a:t>Success</a:t>
            </a:r>
            <a:r>
              <a:rPr lang="pt-BR" sz="3600" dirty="0">
                <a:solidFill>
                  <a:schemeClr val="tx1"/>
                </a:solidFill>
              </a:rPr>
              <a:t> Manager…</a:t>
            </a:r>
          </a:p>
        </p:txBody>
      </p:sp>
      <p:sp>
        <p:nvSpPr>
          <p:cNvPr id="2" name="Title 5">
            <a:extLst>
              <a:ext uri="{FF2B5EF4-FFF2-40B4-BE49-F238E27FC236}">
                <a16:creationId xmlns:a16="http://schemas.microsoft.com/office/drawing/2014/main" id="{D1E91762-A533-5953-92A7-0E2F1A7DC9D6}"/>
              </a:ext>
            </a:extLst>
          </p:cNvPr>
          <p:cNvSpPr txBox="1">
            <a:spLocks/>
          </p:cNvSpPr>
          <p:nvPr/>
        </p:nvSpPr>
        <p:spPr>
          <a:xfrm>
            <a:off x="228599" y="6383868"/>
            <a:ext cx="4140000" cy="237007"/>
          </a:xfrm>
          <a:prstGeom prst="rect">
            <a:avLst/>
          </a:prstGeom>
          <a:noFill/>
        </p:spPr>
        <p:txBody>
          <a:bodyPr vert="horz" lIns="182880" tIns="164592" rIns="228600" bIns="228600" rtlCol="0" anchor="ctr">
            <a:no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6400" b="0" i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5pPr>
            <a:lvl6pPr marL="483412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6pPr>
            <a:lvl7pPr marL="96682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7pPr>
            <a:lvl8pPr marL="145024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8pPr>
            <a:lvl9pPr marL="1933653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9pPr>
          </a:lstStyle>
          <a:p>
            <a:r>
              <a:rPr lang="en-US" sz="1050" kern="0" dirty="0">
                <a:solidFill>
                  <a:schemeClr val="tx1"/>
                </a:solidFill>
              </a:rPr>
              <a:t>IBM Customer Success / © 2024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87069881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0D93105-AC2E-413D-AEF8-811553D98BF2}"/>
              </a:ext>
            </a:extLst>
          </p:cNvPr>
          <p:cNvSpPr txBox="1">
            <a:spLocks/>
          </p:cNvSpPr>
          <p:nvPr/>
        </p:nvSpPr>
        <p:spPr>
          <a:xfrm>
            <a:off x="0" y="4046855"/>
            <a:ext cx="6096000" cy="2811146"/>
          </a:xfrm>
          <a:prstGeom prst="rect">
            <a:avLst/>
          </a:prstGeom>
          <a:solidFill>
            <a:schemeClr val="tx1"/>
          </a:solidFill>
        </p:spPr>
        <p:txBody>
          <a:bodyPr anchor="t"/>
          <a:lstStyle>
            <a:lvl1pPr marL="0" indent="0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tx1"/>
              </a:buClr>
              <a:buSzPct val="90000"/>
              <a:buFont typeface="IBM Plex Sans" pitchFamily="2" charset="2"/>
              <a:buNone/>
              <a:defRPr sz="1867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1pPr>
            <a:lvl2pPr marL="228597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IBM Plex Sans" charset="-120"/>
              <a:buChar char="–"/>
              <a:tabLst/>
              <a:defRPr sz="1867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2pPr>
            <a:lvl3pPr marL="457195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IBM Plex Sans" panose="020B0604020202020204" pitchFamily="34" charset="0"/>
              <a:buChar char="•"/>
              <a:tabLst/>
              <a:defRPr sz="1867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3pPr>
            <a:lvl4pPr marL="838190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IBM Plex Sans" charset="-120"/>
              <a:buChar char="–"/>
              <a:tabLst/>
              <a:defRPr sz="1867" baseline="0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4pPr>
            <a:lvl5pPr marL="1071020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tx1"/>
              </a:buClr>
              <a:buFont typeface="IBM Plex Sans" charset="-120"/>
              <a:buChar char="»"/>
              <a:tabLst/>
              <a:defRPr sz="1867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5pPr>
            <a:lvl6pPr marL="2111575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6pPr>
            <a:lvl7pPr marL="2594990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7pPr>
            <a:lvl8pPr marL="3078403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8pPr>
            <a:lvl9pPr marL="3561818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9pPr>
          </a:lstStyle>
          <a:p>
            <a:endParaRPr lang="en-US" sz="3200" b="1" kern="0" dirty="0">
              <a:solidFill>
                <a:schemeClr val="bg1"/>
              </a:solidFill>
            </a:endParaRPr>
          </a:p>
          <a:p>
            <a:pPr algn="ctr"/>
            <a:r>
              <a:rPr lang="en-US" sz="3200" b="1" kern="0" dirty="0" err="1">
                <a:solidFill>
                  <a:schemeClr val="bg1"/>
                </a:solidFill>
              </a:rPr>
              <a:t>Maximizar</a:t>
            </a:r>
            <a:r>
              <a:rPr lang="en-US" sz="3200" b="1" kern="0" dirty="0">
                <a:solidFill>
                  <a:schemeClr val="bg1"/>
                </a:solidFill>
              </a:rPr>
              <a:t> o </a:t>
            </a:r>
            <a:r>
              <a:rPr lang="en-US" sz="3200" b="1" kern="0" dirty="0" err="1">
                <a:solidFill>
                  <a:schemeClr val="bg1"/>
                </a:solidFill>
              </a:rPr>
              <a:t>retorno</a:t>
            </a:r>
            <a:r>
              <a:rPr lang="en-US" sz="3200" b="1" kern="0" dirty="0">
                <a:solidFill>
                  <a:schemeClr val="bg1"/>
                </a:solidFill>
              </a:rPr>
              <a:t> de </a:t>
            </a:r>
            <a:r>
              <a:rPr lang="en-US" sz="3200" b="1" kern="0" dirty="0" err="1">
                <a:solidFill>
                  <a:schemeClr val="bg1"/>
                </a:solidFill>
              </a:rPr>
              <a:t>investimento</a:t>
            </a:r>
            <a:r>
              <a:rPr lang="en-US" sz="3200" b="1" kern="0" dirty="0">
                <a:solidFill>
                  <a:schemeClr val="bg1"/>
                </a:solidFill>
              </a:rPr>
              <a:t> </a:t>
            </a:r>
            <a:r>
              <a:rPr lang="en-US" sz="3200" kern="0" dirty="0">
                <a:solidFill>
                  <a:schemeClr val="bg1"/>
                </a:solidFill>
              </a:rPr>
              <a:t>do </a:t>
            </a:r>
            <a:r>
              <a:rPr lang="en-US" sz="3200" kern="0" dirty="0" err="1">
                <a:solidFill>
                  <a:schemeClr val="bg1"/>
                </a:solidFill>
              </a:rPr>
              <a:t>cliente</a:t>
            </a:r>
            <a:endParaRPr lang="en-US" sz="3200" kern="0" dirty="0">
              <a:solidFill>
                <a:schemeClr val="bg1"/>
              </a:solidFill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4046855"/>
          </a:xfrm>
          <a:solidFill>
            <a:schemeClr val="accent1"/>
          </a:solidFill>
        </p:spPr>
        <p:txBody>
          <a:bodyPr/>
          <a:lstStyle/>
          <a:p>
            <a:pPr marL="0" indent="0">
              <a:buNone/>
            </a:pPr>
            <a:r>
              <a:rPr lang="en-US" sz="2800" dirty="0" err="1"/>
              <a:t>Demonstrar</a:t>
            </a:r>
            <a:r>
              <a:rPr lang="en-US" sz="2800" dirty="0"/>
              <a:t> valor </a:t>
            </a:r>
            <a:r>
              <a:rPr lang="en-US" sz="2800" dirty="0" err="1"/>
              <a:t>contínuo</a:t>
            </a:r>
            <a:r>
              <a:rPr lang="en-US" sz="2800" dirty="0"/>
              <a:t> por </a:t>
            </a:r>
            <a:r>
              <a:rPr lang="en-US" sz="2800" dirty="0" err="1"/>
              <a:t>meio</a:t>
            </a:r>
            <a:r>
              <a:rPr lang="en-US" sz="2800" dirty="0"/>
              <a:t> da </a:t>
            </a:r>
            <a:r>
              <a:rPr lang="en-US" sz="2800" dirty="0" err="1"/>
              <a:t>utilização</a:t>
            </a:r>
            <a:r>
              <a:rPr lang="en-US" sz="2800" dirty="0"/>
              <a:t> das </a:t>
            </a:r>
            <a:r>
              <a:rPr lang="en-US" sz="2800" dirty="0" err="1"/>
              <a:t>ofertas</a:t>
            </a:r>
            <a:r>
              <a:rPr lang="en-US" sz="2800" dirty="0"/>
              <a:t> de Data &amp; AI, Automation </a:t>
            </a:r>
            <a:r>
              <a:rPr lang="en-US" sz="2800" dirty="0" err="1"/>
              <a:t>ou</a:t>
            </a:r>
            <a:r>
              <a:rPr lang="en-US" sz="2800" dirty="0"/>
              <a:t> Security da IBM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4046855"/>
          </a:xfrm>
          <a:solidFill>
            <a:srgbClr val="001D6C"/>
          </a:solidFill>
        </p:spPr>
        <p:txBody>
          <a:bodyPr/>
          <a:lstStyle/>
          <a:p>
            <a:pPr marL="0" indent="0">
              <a:buNone/>
            </a:pPr>
            <a:endParaRPr lang="en-US" sz="3200" b="1" dirty="0"/>
          </a:p>
          <a:p>
            <a:pPr marL="0" indent="0">
              <a:buNone/>
            </a:pPr>
            <a:r>
              <a:rPr lang="en-US" sz="3200" b="1" dirty="0" err="1"/>
              <a:t>Acelerar</a:t>
            </a:r>
            <a:r>
              <a:rPr lang="en-US" sz="3200" b="1" dirty="0"/>
              <a:t> o </a:t>
            </a:r>
            <a:r>
              <a:rPr lang="en-US" sz="3200" b="1" i="1" dirty="0"/>
              <a:t>time to value </a:t>
            </a:r>
            <a:r>
              <a:rPr lang="en-US" sz="3200" dirty="0"/>
              <a:t>do </a:t>
            </a:r>
            <a:r>
              <a:rPr lang="en-US" sz="3200" dirty="0" err="1"/>
              <a:t>cliente</a:t>
            </a:r>
            <a:endParaRPr lang="en-US" sz="3200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9"/>
          </p:nvPr>
        </p:nvSpPr>
        <p:spPr>
          <a:xfrm>
            <a:off x="6084260" y="4046854"/>
            <a:ext cx="6107740" cy="2811146"/>
          </a:xfrm>
          <a:solidFill>
            <a:schemeClr val="accent2"/>
          </a:solidFill>
        </p:spPr>
        <p:txBody>
          <a:bodyPr/>
          <a:lstStyle/>
          <a:p>
            <a:pPr marL="0" indent="0" algn="ctr">
              <a:buNone/>
            </a:pPr>
            <a:endParaRPr lang="en-US" sz="3200" dirty="0"/>
          </a:p>
          <a:p>
            <a:pPr marL="0" indent="0" algn="ctr">
              <a:buNone/>
            </a:pPr>
            <a:endParaRPr lang="en-US" sz="3200" dirty="0"/>
          </a:p>
          <a:p>
            <a:pPr marL="0" indent="0" algn="ctr">
              <a:buNone/>
            </a:pPr>
            <a:r>
              <a:rPr lang="en-US" sz="3200" dirty="0"/>
              <a:t>GARANTIR O </a:t>
            </a:r>
            <a:r>
              <a:rPr lang="en-US" sz="3200" b="1" dirty="0"/>
              <a:t>SUCESSO</a:t>
            </a:r>
            <a:r>
              <a:rPr lang="en-US" sz="3200" dirty="0"/>
              <a:t> DO CLIENTE</a:t>
            </a:r>
          </a:p>
        </p:txBody>
      </p:sp>
      <p:sp>
        <p:nvSpPr>
          <p:cNvPr id="11" name="Slide Number Placeholder">
            <a:extLst>
              <a:ext uri="{FF2B5EF4-FFF2-40B4-BE49-F238E27FC236}">
                <a16:creationId xmlns:a16="http://schemas.microsoft.com/office/drawing/2014/main" id="{05A6B09B-E865-4171-AF47-2A132F1C764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448802" y="6383868"/>
            <a:ext cx="2438309" cy="222249"/>
          </a:xfrm>
        </p:spPr>
        <p:txBody>
          <a:bodyPr/>
          <a:lstStyle/>
          <a:p>
            <a:pPr defTabSz="914621">
              <a:defRPr/>
            </a:pPr>
            <a:fld id="{59395FB3-9C97-154F-86B2-7E381B951268}" type="slidenum">
              <a:rPr lang="en-US"/>
              <a:pPr defTabSz="914621">
                <a:defRPr/>
              </a:pPr>
              <a:t>4</a:t>
            </a:fld>
            <a:endParaRPr lang="en-US" dirty="0"/>
          </a:p>
        </p:txBody>
      </p:sp>
      <p:sp>
        <p:nvSpPr>
          <p:cNvPr id="13" name="Title 5">
            <a:extLst>
              <a:ext uri="{FF2B5EF4-FFF2-40B4-BE49-F238E27FC236}">
                <a16:creationId xmlns:a16="http://schemas.microsoft.com/office/drawing/2014/main" id="{872BA695-1E66-49E3-91D4-A274B060F0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320" y="379593"/>
            <a:ext cx="5745480" cy="763407"/>
          </a:xfrm>
        </p:spPr>
        <p:txBody>
          <a:bodyPr anchor="ctr">
            <a:normAutofit fontScale="90000"/>
          </a:bodyPr>
          <a:lstStyle/>
          <a:p>
            <a:r>
              <a:rPr lang="en-US" sz="3600" dirty="0">
                <a:solidFill>
                  <a:schemeClr val="tx1"/>
                </a:solidFill>
              </a:rPr>
              <a:t>O que é o Customer Success </a:t>
            </a:r>
            <a:r>
              <a:rPr lang="en-US" sz="3600" dirty="0" err="1">
                <a:solidFill>
                  <a:schemeClr val="tx1"/>
                </a:solidFill>
              </a:rPr>
              <a:t>na</a:t>
            </a:r>
            <a:r>
              <a:rPr lang="en-US" sz="3600" dirty="0">
                <a:solidFill>
                  <a:schemeClr val="tx1"/>
                </a:solidFill>
              </a:rPr>
              <a:t> IBM? 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E693B5C-0481-4EDC-8C5C-8732A1499583}"/>
              </a:ext>
            </a:extLst>
          </p:cNvPr>
          <p:cNvSpPr/>
          <p:nvPr/>
        </p:nvSpPr>
        <p:spPr>
          <a:xfrm>
            <a:off x="194064" y="1490008"/>
            <a:ext cx="5597136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dirty="0">
                <a:latin typeface="IBM Plex Sans" panose="020B0503050203000203" pitchFamily="34" charset="0"/>
              </a:rPr>
              <a:t>Nossa missão é </a:t>
            </a:r>
            <a:r>
              <a:rPr lang="pt-BR" sz="2000" b="1" dirty="0">
                <a:solidFill>
                  <a:srgbClr val="061F80"/>
                </a:solidFill>
                <a:latin typeface="IBM Plex Sans" panose="020B0503050203000203" pitchFamily="34" charset="0"/>
              </a:rPr>
              <a:t>impulsionar a adoção e o uso das ofertas de Data &amp; AI, Automation ou Security </a:t>
            </a:r>
            <a:r>
              <a:rPr lang="pt-BR" sz="2000" dirty="0">
                <a:latin typeface="IBM Plex Sans" panose="020B0503050203000203" pitchFamily="34" charset="0"/>
              </a:rPr>
              <a:t>por meio de compromissos proativos e contínuos com nossos clientes durante o pós-vendas e garantir que eles agreguem mais resultados aos seus negócios.</a:t>
            </a:r>
            <a:endParaRPr lang="en-US" sz="2000" dirty="0">
              <a:latin typeface="IBM Plex Sans" panose="020B0503050203000203" pitchFamily="34" charset="0"/>
            </a:endParaRPr>
          </a:p>
        </p:txBody>
      </p:sp>
      <p:pic>
        <p:nvPicPr>
          <p:cNvPr id="7172" name="Picture 4" descr="champion Icon 2750396">
            <a:extLst>
              <a:ext uri="{FF2B5EF4-FFF2-40B4-BE49-F238E27FC236}">
                <a16:creationId xmlns:a16="http://schemas.microsoft.com/office/drawing/2014/main" id="{026CBE3A-6437-4032-BB5E-20B6BA0B84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6028" y="4148207"/>
            <a:ext cx="1115944" cy="1115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5">
            <a:extLst>
              <a:ext uri="{FF2B5EF4-FFF2-40B4-BE49-F238E27FC236}">
                <a16:creationId xmlns:a16="http://schemas.microsoft.com/office/drawing/2014/main" id="{52317B9A-005D-2F4F-BCAB-6C005E47A0D8}"/>
              </a:ext>
            </a:extLst>
          </p:cNvPr>
          <p:cNvSpPr txBox="1">
            <a:spLocks/>
          </p:cNvSpPr>
          <p:nvPr/>
        </p:nvSpPr>
        <p:spPr>
          <a:xfrm>
            <a:off x="228599" y="6383868"/>
            <a:ext cx="4140000" cy="237007"/>
          </a:xfrm>
          <a:prstGeom prst="rect">
            <a:avLst/>
          </a:prstGeom>
          <a:noFill/>
        </p:spPr>
        <p:txBody>
          <a:bodyPr vert="horz" lIns="182880" tIns="164592" rIns="228600" bIns="228600" rtlCol="0" anchor="ctr">
            <a:no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6400" b="0" i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5pPr>
            <a:lvl6pPr marL="483412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6pPr>
            <a:lvl7pPr marL="96682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7pPr>
            <a:lvl8pPr marL="145024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8pPr>
            <a:lvl9pPr marL="1933653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9pPr>
          </a:lstStyle>
          <a:p>
            <a:r>
              <a:rPr lang="en-US" sz="1050" kern="0" dirty="0"/>
              <a:t>IBM Customer Success / © 2024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4259630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1B15ED52-F352-441B-82BF-E0EA34836D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B2E3793-BFE6-45A2-9B7B-E18844431C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C4C4868-CB8F-4AF9-9CDB-8108F2C19B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75E0459-6403-40CD-989D-56A4407CA1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3E5B1A8-3AC9-4BD1-9BBC-78CA94F2D1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5" name="logo2-04.png" descr="logo2-04.png">
            <a:extLst>
              <a:ext uri="{FF2B5EF4-FFF2-40B4-BE49-F238E27FC236}">
                <a16:creationId xmlns:a16="http://schemas.microsoft.com/office/drawing/2014/main" id="{D9B609AC-2D18-4858-1821-77882B6494F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8973581A-14E7-1133-5923-412F0DCC00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pt-BR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Exemplos de atividades do CSM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SM example activities </a:t>
            </a: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F76032E9-77B0-ECCC-9C48-964E8DCA3871}"/>
              </a:ext>
            </a:extLst>
          </p:cNvPr>
          <p:cNvGrpSpPr/>
          <p:nvPr/>
        </p:nvGrpSpPr>
        <p:grpSpPr>
          <a:xfrm>
            <a:off x="890776" y="1745093"/>
            <a:ext cx="10182014" cy="4759193"/>
            <a:chOff x="226010" y="914400"/>
            <a:chExt cx="11533564" cy="5467538"/>
          </a:xfrm>
        </p:grpSpPr>
        <p:sp>
          <p:nvSpPr>
            <p:cNvPr id="2" name="Text Placeholder 1">
              <a:extLst>
                <a:ext uri="{FF2B5EF4-FFF2-40B4-BE49-F238E27FC236}">
                  <a16:creationId xmlns:a16="http://schemas.microsoft.com/office/drawing/2014/main" id="{81185307-97FB-12DA-529E-7B0BD7D496F0}"/>
                </a:ext>
              </a:extLst>
            </p:cNvPr>
            <p:cNvSpPr txBox="1">
              <a:spLocks/>
            </p:cNvSpPr>
            <p:nvPr/>
          </p:nvSpPr>
          <p:spPr>
            <a:xfrm>
              <a:off x="445008" y="2133600"/>
              <a:ext cx="2374392" cy="1303944"/>
            </a:xfrm>
            <a:prstGeom prst="rect">
              <a:avLst/>
            </a:prstGeom>
          </p:spPr>
          <p:txBody>
            <a:bodyPr vert="horz" lIns="91440" tIns="45720" rIns="91440" bIns="45720" rtlCol="0" anchor="b">
              <a:normAutofit/>
            </a:bodyPr>
            <a:lstStyle>
              <a:defPPr>
                <a:defRPr lang="pt-B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5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dentificar casos de uso </a:t>
              </a:r>
              <a:r>
                <a:rPr lang="en-US" sz="15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linhados com os objetivos estratégicos do cliente</a:t>
              </a:r>
              <a:endParaRPr lang="en-US" sz="15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" name="Text Placeholder 2">
              <a:extLst>
                <a:ext uri="{FF2B5EF4-FFF2-40B4-BE49-F238E27FC236}">
                  <a16:creationId xmlns:a16="http://schemas.microsoft.com/office/drawing/2014/main" id="{A774AA1C-2555-4FEA-B71F-64295B391D81}"/>
                </a:ext>
              </a:extLst>
            </p:cNvPr>
            <p:cNvSpPr txBox="1">
              <a:spLocks/>
            </p:cNvSpPr>
            <p:nvPr/>
          </p:nvSpPr>
          <p:spPr>
            <a:xfrm>
              <a:off x="3267594" y="2163069"/>
              <a:ext cx="2720200" cy="1456431"/>
            </a:xfrm>
            <a:prstGeom prst="rect">
              <a:avLst/>
            </a:prstGeom>
          </p:spPr>
          <p:txBody>
            <a:bodyPr anchor="b"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Clr>
                  <a:srgbClr val="000000"/>
                </a:buClr>
                <a:buNone/>
              </a:pP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Co-</a:t>
              </a:r>
              <a:r>
                <a:rPr lang="en-US" sz="15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criar</a:t>
              </a: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 MVPs (</a:t>
              </a:r>
              <a:r>
                <a:rPr lang="en-US" sz="15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mínimo</a:t>
              </a: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5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produto</a:t>
              </a: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5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viável</a:t>
              </a: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) </a:t>
              </a:r>
              <a:r>
                <a:rPr lang="en-US" sz="1500" dirty="0">
                  <a:latin typeface="Arial" panose="020B0604020202020204" pitchFamily="34" charset="0"/>
                  <a:cs typeface="Arial" panose="020B0604020202020204" pitchFamily="34" charset="0"/>
                </a:rPr>
                <a:t>para </a:t>
              </a:r>
              <a:r>
                <a:rPr lang="en-US" sz="1500" dirty="0" err="1">
                  <a:latin typeface="Arial" panose="020B0604020202020204" pitchFamily="34" charset="0"/>
                  <a:cs typeface="Arial" panose="020B0604020202020204" pitchFamily="34" charset="0"/>
                </a:rPr>
                <a:t>acelerar</a:t>
              </a:r>
              <a:r>
                <a:rPr lang="en-US" sz="1500" dirty="0">
                  <a:latin typeface="Arial" panose="020B0604020202020204" pitchFamily="34" charset="0"/>
                  <a:cs typeface="Arial" panose="020B0604020202020204" pitchFamily="34" charset="0"/>
                </a:rPr>
                <a:t> o </a:t>
              </a:r>
              <a:r>
                <a:rPr lang="en-US" sz="1500" i="1" dirty="0">
                  <a:latin typeface="Arial" panose="020B0604020202020204" pitchFamily="34" charset="0"/>
                  <a:cs typeface="Arial" panose="020B0604020202020204" pitchFamily="34" charset="0"/>
                </a:rPr>
                <a:t>tempo de </a:t>
              </a:r>
              <a:r>
                <a:rPr lang="en-US" sz="1500" i="1" dirty="0" err="1">
                  <a:latin typeface="Arial" panose="020B0604020202020204" pitchFamily="34" charset="0"/>
                  <a:cs typeface="Arial" panose="020B0604020202020204" pitchFamily="34" charset="0"/>
                </a:rPr>
                <a:t>retorno</a:t>
              </a:r>
              <a:endParaRPr lang="en-US" sz="15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" name="Text Placeholder 3">
              <a:extLst>
                <a:ext uri="{FF2B5EF4-FFF2-40B4-BE49-F238E27FC236}">
                  <a16:creationId xmlns:a16="http://schemas.microsoft.com/office/drawing/2014/main" id="{ED8A99DB-37E2-324D-309C-066E0DD9CE21}"/>
                </a:ext>
              </a:extLst>
            </p:cNvPr>
            <p:cNvSpPr txBox="1">
              <a:spLocks/>
            </p:cNvSpPr>
            <p:nvPr/>
          </p:nvSpPr>
          <p:spPr>
            <a:xfrm>
              <a:off x="6489514" y="2088347"/>
              <a:ext cx="2227811" cy="1303944"/>
            </a:xfrm>
            <a:prstGeom prst="rect">
              <a:avLst/>
            </a:prstGeom>
          </p:spPr>
          <p:txBody>
            <a:bodyPr anchor="b">
              <a:norm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Clr>
                  <a:srgbClr val="000000"/>
                </a:buClr>
                <a:buNone/>
              </a:pP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Validar </a:t>
              </a:r>
              <a:r>
                <a:rPr lang="en-US" sz="15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arquitetura</a:t>
              </a: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500" dirty="0">
                  <a:latin typeface="Arial" panose="020B0604020202020204" pitchFamily="34" charset="0"/>
                  <a:cs typeface="Arial" panose="020B0604020202020204" pitchFamily="34" charset="0"/>
                </a:rPr>
                <a:t>de </a:t>
              </a:r>
              <a:r>
                <a:rPr lang="en-US" sz="1500" dirty="0" err="1">
                  <a:latin typeface="Arial" panose="020B0604020202020204" pitchFamily="34" charset="0"/>
                  <a:cs typeface="Arial" panose="020B0604020202020204" pitchFamily="34" charset="0"/>
                </a:rPr>
                <a:t>acordo</a:t>
              </a:r>
              <a:r>
                <a:rPr lang="en-US" sz="1500" dirty="0">
                  <a:latin typeface="Arial" panose="020B0604020202020204" pitchFamily="34" charset="0"/>
                  <a:cs typeface="Arial" panose="020B0604020202020204" pitchFamily="34" charset="0"/>
                </a:rPr>
                <a:t> com as </a:t>
              </a:r>
              <a:r>
                <a:rPr lang="en-US" sz="1500" dirty="0" err="1">
                  <a:latin typeface="Arial" panose="020B0604020202020204" pitchFamily="34" charset="0"/>
                  <a:cs typeface="Arial" panose="020B0604020202020204" pitchFamily="34" charset="0"/>
                </a:rPr>
                <a:t>melhores</a:t>
              </a:r>
              <a:r>
                <a:rPr lang="en-US" sz="15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500" dirty="0" err="1">
                  <a:latin typeface="Arial" panose="020B0604020202020204" pitchFamily="34" charset="0"/>
                  <a:cs typeface="Arial" panose="020B0604020202020204" pitchFamily="34" charset="0"/>
                </a:rPr>
                <a:t>práticas</a:t>
              </a:r>
              <a:endParaRPr lang="en-US" sz="15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6" name="Picture 4" descr="Cloud Network Icon 3766492">
              <a:extLst>
                <a:ext uri="{FF2B5EF4-FFF2-40B4-BE49-F238E27FC236}">
                  <a16:creationId xmlns:a16="http://schemas.microsoft.com/office/drawing/2014/main" id="{E38D398E-0CDD-3EDE-975D-0D4318B55FC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37767" y="1244724"/>
              <a:ext cx="807905" cy="8079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" name="Picture 6" descr="union Icon 1567316">
              <a:extLst>
                <a:ext uri="{FF2B5EF4-FFF2-40B4-BE49-F238E27FC236}">
                  <a16:creationId xmlns:a16="http://schemas.microsoft.com/office/drawing/2014/main" id="{27A44FA5-C2B4-9F0D-2FE5-FA336A08249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53321" y="1066800"/>
              <a:ext cx="977566" cy="9775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" name="Picture 10" descr="Target Icon 3845784">
              <a:extLst>
                <a:ext uri="{FF2B5EF4-FFF2-40B4-BE49-F238E27FC236}">
                  <a16:creationId xmlns:a16="http://schemas.microsoft.com/office/drawing/2014/main" id="{8F01A206-E5B3-5DC5-B152-6FBC459095C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25956" y="1219200"/>
              <a:ext cx="888696" cy="8886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37A00A80-D87B-FCBF-24A8-BC9CA4B9C07D}"/>
                </a:ext>
              </a:extLst>
            </p:cNvPr>
            <p:cNvGrpSpPr/>
            <p:nvPr/>
          </p:nvGrpSpPr>
          <p:grpSpPr>
            <a:xfrm>
              <a:off x="344733" y="3727078"/>
              <a:ext cx="2450592" cy="2505969"/>
              <a:chOff x="445008" y="3590031"/>
              <a:chExt cx="2450592" cy="2505969"/>
            </a:xfrm>
          </p:grpSpPr>
          <p:sp>
            <p:nvSpPr>
              <p:cNvPr id="15" name="Text Placeholder 1">
                <a:extLst>
                  <a:ext uri="{FF2B5EF4-FFF2-40B4-BE49-F238E27FC236}">
                    <a16:creationId xmlns:a16="http://schemas.microsoft.com/office/drawing/2014/main" id="{0D791626-DEC1-C32E-2F8E-5F6D0078BBC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45008" y="4518228"/>
                <a:ext cx="2450592" cy="1577772"/>
              </a:xfrm>
              <a:prstGeom prst="rect">
                <a:avLst/>
              </a:prstGeom>
            </p:spPr>
            <p:txBody>
              <a:bodyPr vert="horz" lIns="0" tIns="0" rIns="0" bIns="0" rtlCol="0" anchor="b">
                <a:noAutofit/>
              </a:bodyPr>
              <a:lstStyle>
                <a:lvl1pPr marL="0" indent="0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90000"/>
                  <a:buFont typeface="IBM Plex Sans" pitchFamily="2" charset="2"/>
                  <a:buNone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1pPr>
                <a:lvl2pPr marL="228597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2pPr>
                <a:lvl3pPr marL="457195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panose="020B0604020202020204" pitchFamily="34" charset="0"/>
                  <a:buChar char="•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3pPr>
                <a:lvl4pPr marL="83819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 baseline="0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4pPr>
                <a:lvl5pPr marL="107102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Font typeface="IBM Plex Sans" charset="-120"/>
                  <a:buChar char="»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5pPr>
                <a:lvl6pPr marL="2111575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6pPr>
                <a:lvl7pPr marL="2594990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7pPr>
                <a:lvl8pPr marL="3078403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8pPr>
                <a:lvl9pPr marL="3561818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9pPr>
              </a:lstStyle>
              <a:p>
                <a:pPr algn="ctr"/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Desenvolver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demonstraçõe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para o time de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negócio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, sponsors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técnico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e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usuários</a:t>
                </a:r>
                <a:endParaRPr lang="en-US" sz="1500" kern="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18" name="Picture 12" descr="presentation Icon 1153931">
                <a:extLst>
                  <a:ext uri="{FF2B5EF4-FFF2-40B4-BE49-F238E27FC236}">
                    <a16:creationId xmlns:a16="http://schemas.microsoft.com/office/drawing/2014/main" id="{0137F999-23F9-7C49-6D0F-01E46A16DE9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66352" y="3590031"/>
                <a:ext cx="807905" cy="80790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0B8BB897-BD71-952C-0DA2-89F5AF508F10}"/>
                </a:ext>
              </a:extLst>
            </p:cNvPr>
            <p:cNvGrpSpPr/>
            <p:nvPr/>
          </p:nvGrpSpPr>
          <p:grpSpPr>
            <a:xfrm>
              <a:off x="9232391" y="914400"/>
              <a:ext cx="2227811" cy="2477891"/>
              <a:chOff x="3528199" y="3618109"/>
              <a:chExt cx="2227811" cy="2477891"/>
            </a:xfrm>
          </p:grpSpPr>
          <p:sp>
            <p:nvSpPr>
              <p:cNvPr id="20" name="Text Placeholder 2">
                <a:extLst>
                  <a:ext uri="{FF2B5EF4-FFF2-40B4-BE49-F238E27FC236}">
                    <a16:creationId xmlns:a16="http://schemas.microsoft.com/office/drawing/2014/main" id="{3B8B2A23-2FEC-F0EE-1A02-0A65B52F127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528199" y="4518228"/>
                <a:ext cx="2227811" cy="1577772"/>
              </a:xfrm>
              <a:prstGeom prst="rect">
                <a:avLst/>
              </a:prstGeom>
            </p:spPr>
            <p:txBody>
              <a:bodyPr vert="horz" lIns="0" tIns="0" rIns="0" bIns="0" rtlCol="0" anchor="b">
                <a:noAutofit/>
              </a:bodyPr>
              <a:lstStyle>
                <a:lvl1pPr marL="0" indent="0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90000"/>
                  <a:buFont typeface="IBM Plex Sans" pitchFamily="2" charset="2"/>
                  <a:buNone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1pPr>
                <a:lvl2pPr marL="228597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2pPr>
                <a:lvl3pPr marL="457195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panose="020B0604020202020204" pitchFamily="34" charset="0"/>
                  <a:buChar char="•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3pPr>
                <a:lvl4pPr marL="83819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 baseline="0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4pPr>
                <a:lvl5pPr marL="107102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Font typeface="IBM Plex Sans" charset="-120"/>
                  <a:buChar char="»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5pPr>
                <a:lvl6pPr marL="2111575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6pPr>
                <a:lvl7pPr marL="2594990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7pPr>
                <a:lvl8pPr marL="3078403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8pPr>
                <a:lvl9pPr marL="3561818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9pPr>
              </a:lstStyle>
              <a:p>
                <a:pPr algn="ctr">
                  <a:buClr>
                    <a:srgbClr val="000000"/>
                  </a:buClr>
                </a:pP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Expandir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a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utilização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das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tecnologia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da IBM e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aumentar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o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i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workload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bem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sucedidos</a:t>
                </a:r>
                <a:endParaRPr lang="en-US" sz="1500" kern="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21" name="Picture 16" descr="grow Icon 1648809">
                <a:extLst>
                  <a:ext uri="{FF2B5EF4-FFF2-40B4-BE49-F238E27FC236}">
                    <a16:creationId xmlns:a16="http://schemas.microsoft.com/office/drawing/2014/main" id="{C6295FF9-ABE1-21A8-09AA-C21BF2196C2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104443" y="3618109"/>
                <a:ext cx="1075323" cy="107532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1F9AD820-2260-9FAC-577B-4FB806CD82B0}"/>
                </a:ext>
              </a:extLst>
            </p:cNvPr>
            <p:cNvGrpSpPr/>
            <p:nvPr/>
          </p:nvGrpSpPr>
          <p:grpSpPr>
            <a:xfrm>
              <a:off x="3316533" y="3836810"/>
              <a:ext cx="2450592" cy="2542668"/>
              <a:chOff x="6213209" y="3607104"/>
              <a:chExt cx="2450592" cy="2542668"/>
            </a:xfrm>
          </p:grpSpPr>
          <p:sp>
            <p:nvSpPr>
              <p:cNvPr id="23" name="Text Placeholder 3">
                <a:extLst>
                  <a:ext uri="{FF2B5EF4-FFF2-40B4-BE49-F238E27FC236}">
                    <a16:creationId xmlns:a16="http://schemas.microsoft.com/office/drawing/2014/main" id="{57D76889-D5CC-4E1F-3233-F16FE09B221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13209" y="4572000"/>
                <a:ext cx="2450592" cy="1577772"/>
              </a:xfrm>
              <a:prstGeom prst="rect">
                <a:avLst/>
              </a:prstGeom>
            </p:spPr>
            <p:txBody>
              <a:bodyPr vert="horz" lIns="0" tIns="0" rIns="0" bIns="0" rtlCol="0" anchor="b">
                <a:noAutofit/>
              </a:bodyPr>
              <a:lstStyle>
                <a:lvl1pPr marL="0" indent="0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90000"/>
                  <a:buFont typeface="IBM Plex Sans" pitchFamily="2" charset="2"/>
                  <a:buNone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1pPr>
                <a:lvl2pPr marL="228597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2pPr>
                <a:lvl3pPr marL="457195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panose="020B0604020202020204" pitchFamily="34" charset="0"/>
                  <a:buChar char="•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3pPr>
                <a:lvl4pPr marL="83819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 baseline="0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4pPr>
                <a:lvl5pPr marL="107102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Font typeface="IBM Plex Sans" charset="-120"/>
                  <a:buChar char="»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5pPr>
                <a:lvl6pPr marL="2111575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6pPr>
                <a:lvl7pPr marL="2594990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7pPr>
                <a:lvl8pPr marL="3078403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8pPr>
                <a:lvl9pPr marL="3561818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9pPr>
              </a:lstStyle>
              <a:p>
                <a:pPr algn="ctr">
                  <a:buClr>
                    <a:srgbClr val="000000"/>
                  </a:buClr>
                </a:pP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Transferir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conhecimento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de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melhores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práticas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de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uso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de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nossa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tecnologias</a:t>
                </a:r>
                <a:endParaRPr lang="en-US" sz="1500" kern="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24" name="Picture 18" descr="practices Icon 2139244">
                <a:extLst>
                  <a:ext uri="{FF2B5EF4-FFF2-40B4-BE49-F238E27FC236}">
                    <a16:creationId xmlns:a16="http://schemas.microsoft.com/office/drawing/2014/main" id="{A85BD75F-2E3E-44C1-2111-D8B4827FC09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994157" y="3607104"/>
                <a:ext cx="888696" cy="88869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D5A95500-04B2-A591-80A3-BECC3F143B7E}"/>
                </a:ext>
              </a:extLst>
            </p:cNvPr>
            <p:cNvGrpSpPr/>
            <p:nvPr/>
          </p:nvGrpSpPr>
          <p:grpSpPr>
            <a:xfrm>
              <a:off x="9144000" y="3481524"/>
              <a:ext cx="2450592" cy="2874818"/>
              <a:chOff x="9220200" y="3221182"/>
              <a:chExt cx="2450592" cy="2874818"/>
            </a:xfrm>
          </p:grpSpPr>
          <p:sp>
            <p:nvSpPr>
              <p:cNvPr id="26" name="Text Placeholder 4">
                <a:extLst>
                  <a:ext uri="{FF2B5EF4-FFF2-40B4-BE49-F238E27FC236}">
                    <a16:creationId xmlns:a16="http://schemas.microsoft.com/office/drawing/2014/main" id="{F63CF753-19FD-D119-EB5E-73BEBE22FE9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9220200" y="4518228"/>
                <a:ext cx="2450592" cy="1577772"/>
              </a:xfrm>
              <a:prstGeom prst="rect">
                <a:avLst/>
              </a:prstGeom>
            </p:spPr>
            <p:txBody>
              <a:bodyPr vert="horz" lIns="0" tIns="0" rIns="0" bIns="0" rtlCol="0" anchor="b">
                <a:noAutofit/>
              </a:bodyPr>
              <a:lstStyle>
                <a:lvl1pPr marL="0" indent="0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90000"/>
                  <a:buFont typeface="IBM Plex Sans" pitchFamily="2" charset="2"/>
                  <a:buNone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1pPr>
                <a:lvl2pPr marL="228597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2pPr>
                <a:lvl3pPr marL="457195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panose="020B0604020202020204" pitchFamily="34" charset="0"/>
                  <a:buChar char="•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3pPr>
                <a:lvl4pPr marL="83819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 baseline="0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4pPr>
                <a:lvl5pPr marL="107102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Font typeface="IBM Plex Sans" charset="-120"/>
                  <a:buChar char="»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5pPr>
                <a:lvl6pPr marL="2111575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6pPr>
                <a:lvl7pPr marL="2594990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7pPr>
                <a:lvl8pPr marL="3078403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8pPr>
                <a:lvl9pPr marL="3561818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9pPr>
              </a:lstStyle>
              <a:p>
                <a:pPr algn="ctr">
                  <a:buClr>
                    <a:srgbClr val="000000"/>
                  </a:buClr>
                </a:pP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Estruturar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uma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cultura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propícia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ao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aprendizado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para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obter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o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máximo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valor das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tecnologia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IBM</a:t>
                </a:r>
              </a:p>
            </p:txBody>
          </p:sp>
          <p:pic>
            <p:nvPicPr>
              <p:cNvPr id="27" name="Picture 22" descr="Agile Methodology Icon 2321699">
                <a:extLst>
                  <a:ext uri="{FF2B5EF4-FFF2-40B4-BE49-F238E27FC236}">
                    <a16:creationId xmlns:a16="http://schemas.microsoft.com/office/drawing/2014/main" id="{AB804976-1D96-5076-BACD-A5E4B4BEF27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579587" y="3221182"/>
                <a:ext cx="1731818" cy="173181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0293B79D-C957-D34A-1180-BEF87115BAD0}"/>
                </a:ext>
              </a:extLst>
            </p:cNvPr>
            <p:cNvSpPr/>
            <p:nvPr/>
          </p:nvSpPr>
          <p:spPr bwMode="auto">
            <a:xfrm>
              <a:off x="228598" y="914400"/>
              <a:ext cx="11518393" cy="2675630"/>
            </a:xfrm>
            <a:prstGeom prst="rect">
              <a:avLst/>
            </a:prstGeom>
            <a:noFill/>
            <a:ln w="1905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pt-BR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IBM Plex Sans" panose="020B0503050203000203" pitchFamily="34" charset="0"/>
              </a:endParaRPr>
            </a:p>
          </p:txBody>
        </p:sp>
        <p:sp>
          <p:nvSpPr>
            <p:cNvPr id="29" name="Text Placeholder 4">
              <a:extLst>
                <a:ext uri="{FF2B5EF4-FFF2-40B4-BE49-F238E27FC236}">
                  <a16:creationId xmlns:a16="http://schemas.microsoft.com/office/drawing/2014/main" id="{C4748603-6099-922B-91D8-B9B821FF00A7}"/>
                </a:ext>
              </a:extLst>
            </p:cNvPr>
            <p:cNvSpPr txBox="1">
              <a:spLocks/>
            </p:cNvSpPr>
            <p:nvPr/>
          </p:nvSpPr>
          <p:spPr>
            <a:xfrm>
              <a:off x="6266732" y="4931665"/>
              <a:ext cx="2450592" cy="1303944"/>
            </a:xfrm>
            <a:prstGeom prst="rect">
              <a:avLst/>
            </a:prstGeom>
          </p:spPr>
          <p:txBody>
            <a:bodyPr vert="horz" lIns="0" tIns="0" rIns="0" bIns="0" rtlCol="0" anchor="b">
              <a:noAutofit/>
            </a:bodyPr>
            <a:lstStyle>
              <a:lvl1pPr marL="0" indent="0" algn="l" rtl="0" eaLnBrk="1" fontAlgn="base" hangingPunct="1">
                <a:lnSpc>
                  <a:spcPct val="100000"/>
                </a:lnSpc>
                <a:spcBef>
                  <a:spcPts val="1467"/>
                </a:spcBef>
                <a:spcAft>
                  <a:spcPct val="0"/>
                </a:spcAft>
                <a:buClr>
                  <a:schemeClr val="tx1"/>
                </a:buClr>
                <a:buSzPct val="90000"/>
                <a:buFont typeface="IBM Plex Sans" pitchFamily="2" charset="2"/>
                <a:buNone/>
                <a:defRPr sz="1867">
                  <a:solidFill>
                    <a:schemeClr val="tx1"/>
                  </a:solidFill>
                  <a:latin typeface="IBM Plex Sans" panose="020B0503050203000203" pitchFamily="34" charset="0"/>
                  <a:ea typeface="IBM Plex Sans" panose="020B0503050203000203" pitchFamily="34" charset="0"/>
                  <a:cs typeface="IBM Plex Sans" panose="020B0503050203000203" pitchFamily="34" charset="0"/>
                </a:defRPr>
              </a:lvl1pPr>
              <a:lvl2pPr marL="228597" indent="-231642" algn="l" rtl="0" eaLnBrk="1" fontAlgn="base" hangingPunct="1">
                <a:lnSpc>
                  <a:spcPct val="100000"/>
                </a:lnSpc>
                <a:spcBef>
                  <a:spcPts val="1467"/>
                </a:spcBef>
                <a:spcAft>
                  <a:spcPct val="0"/>
                </a:spcAft>
                <a:buClr>
                  <a:schemeClr val="tx1"/>
                </a:buClr>
                <a:buSzPct val="100000"/>
                <a:buFont typeface="IBM Plex Sans" charset="-120"/>
                <a:buChar char="–"/>
                <a:tabLst/>
                <a:defRPr sz="1867">
                  <a:solidFill>
                    <a:schemeClr val="tx1"/>
                  </a:solidFill>
                  <a:latin typeface="IBM Plex Sans" panose="020B0503050203000203" pitchFamily="34" charset="0"/>
                  <a:ea typeface="IBM Plex Sans" panose="020B0503050203000203" pitchFamily="34" charset="0"/>
                  <a:cs typeface="IBM Plex Sans" panose="020B0503050203000203" pitchFamily="34" charset="0"/>
                </a:defRPr>
              </a:lvl2pPr>
              <a:lvl3pPr marL="457195" indent="-231642" algn="l" rtl="0" eaLnBrk="1" fontAlgn="base" hangingPunct="1">
                <a:lnSpc>
                  <a:spcPct val="100000"/>
                </a:lnSpc>
                <a:spcBef>
                  <a:spcPts val="1467"/>
                </a:spcBef>
                <a:spcAft>
                  <a:spcPct val="0"/>
                </a:spcAft>
                <a:buClr>
                  <a:schemeClr val="tx1"/>
                </a:buClr>
                <a:buSzPct val="100000"/>
                <a:buFont typeface="IBM Plex Sans" panose="020B0604020202020204" pitchFamily="34" charset="0"/>
                <a:buChar char="•"/>
                <a:tabLst/>
                <a:defRPr sz="1867">
                  <a:solidFill>
                    <a:schemeClr val="tx1"/>
                  </a:solidFill>
                  <a:latin typeface="IBM Plex Sans" panose="020B0503050203000203" pitchFamily="34" charset="0"/>
                  <a:ea typeface="IBM Plex Sans" panose="020B0503050203000203" pitchFamily="34" charset="0"/>
                  <a:cs typeface="IBM Plex Sans" panose="020B0503050203000203" pitchFamily="34" charset="0"/>
                </a:defRPr>
              </a:lvl3pPr>
              <a:lvl4pPr marL="838190" indent="-231642" algn="l" rtl="0" eaLnBrk="1" fontAlgn="base" hangingPunct="1">
                <a:lnSpc>
                  <a:spcPct val="100000"/>
                </a:lnSpc>
                <a:spcBef>
                  <a:spcPts val="1467"/>
                </a:spcBef>
                <a:spcAft>
                  <a:spcPct val="0"/>
                </a:spcAft>
                <a:buClr>
                  <a:schemeClr val="tx1"/>
                </a:buClr>
                <a:buSzPct val="100000"/>
                <a:buFont typeface="IBM Plex Sans" charset="-120"/>
                <a:buChar char="–"/>
                <a:tabLst/>
                <a:defRPr sz="1867" baseline="0">
                  <a:solidFill>
                    <a:schemeClr val="tx1"/>
                  </a:solidFill>
                  <a:latin typeface="IBM Plex Sans" panose="020B0503050203000203" pitchFamily="34" charset="0"/>
                  <a:ea typeface="IBM Plex Sans" panose="020B0503050203000203" pitchFamily="34" charset="0"/>
                  <a:cs typeface="IBM Plex Sans" panose="020B0503050203000203" pitchFamily="34" charset="0"/>
                </a:defRPr>
              </a:lvl4pPr>
              <a:lvl5pPr marL="1071020" indent="-231642" algn="l" rtl="0" eaLnBrk="1" fontAlgn="base" hangingPunct="1">
                <a:lnSpc>
                  <a:spcPct val="100000"/>
                </a:lnSpc>
                <a:spcBef>
                  <a:spcPts val="1467"/>
                </a:spcBef>
                <a:spcAft>
                  <a:spcPct val="0"/>
                </a:spcAft>
                <a:buClr>
                  <a:schemeClr val="tx1"/>
                </a:buClr>
                <a:buFont typeface="IBM Plex Sans" charset="-120"/>
                <a:buChar char="»"/>
                <a:tabLst/>
                <a:defRPr sz="1867">
                  <a:solidFill>
                    <a:schemeClr val="tx1"/>
                  </a:solidFill>
                  <a:latin typeface="IBM Plex Sans" panose="020B0503050203000203" pitchFamily="34" charset="0"/>
                  <a:ea typeface="IBM Plex Sans" panose="020B0503050203000203" pitchFamily="34" charset="0"/>
                  <a:cs typeface="IBM Plex Sans" panose="020B0503050203000203" pitchFamily="34" charset="0"/>
                </a:defRPr>
              </a:lvl5pPr>
              <a:lvl6pPr marL="2111575" indent="-172889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Char char="»"/>
                <a:defRPr sz="1692">
                  <a:solidFill>
                    <a:schemeClr val="bg1"/>
                  </a:solidFill>
                  <a:latin typeface="IBM Plex Sans" charset="0"/>
                </a:defRPr>
              </a:lvl6pPr>
              <a:lvl7pPr marL="2594990" indent="-172889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Char char="»"/>
                <a:defRPr sz="1692">
                  <a:solidFill>
                    <a:schemeClr val="bg1"/>
                  </a:solidFill>
                  <a:latin typeface="IBM Plex Sans" charset="0"/>
                </a:defRPr>
              </a:lvl7pPr>
              <a:lvl8pPr marL="3078403" indent="-172889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Char char="»"/>
                <a:defRPr sz="1692">
                  <a:solidFill>
                    <a:schemeClr val="bg1"/>
                  </a:solidFill>
                  <a:latin typeface="IBM Plex Sans" charset="0"/>
                </a:defRPr>
              </a:lvl8pPr>
              <a:lvl9pPr marL="3561818" indent="-172889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Char char="»"/>
                <a:defRPr sz="1692">
                  <a:solidFill>
                    <a:schemeClr val="bg1"/>
                  </a:solidFill>
                  <a:latin typeface="IBM Plex Sans" charset="0"/>
                </a:defRPr>
              </a:lvl9pPr>
            </a:lstStyle>
            <a:p>
              <a:pPr algn="ctr">
                <a:buClr>
                  <a:srgbClr val="000000"/>
                </a:buClr>
              </a:pPr>
              <a:r>
                <a:rPr lang="en-US" sz="1500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Conectar</a:t>
              </a:r>
              <a:r>
                <a:rPr lang="en-US" sz="1500" kern="0" dirty="0">
                  <a:latin typeface="Arial" panose="020B0604020202020204" pitchFamily="34" charset="0"/>
                  <a:cs typeface="Arial" panose="020B0604020202020204" pitchFamily="34" charset="0"/>
                </a:rPr>
                <a:t> o </a:t>
              </a:r>
              <a:r>
                <a:rPr lang="en-US" sz="1500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cliente</a:t>
              </a:r>
              <a:r>
                <a:rPr lang="en-US" sz="1500" kern="0" dirty="0">
                  <a:latin typeface="Arial" panose="020B0604020202020204" pitchFamily="34" charset="0"/>
                  <a:cs typeface="Arial" panose="020B0604020202020204" pitchFamily="34" charset="0"/>
                </a:rPr>
                <a:t> com </a:t>
              </a:r>
              <a:r>
                <a:rPr lang="en-US" sz="1500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nosso</a:t>
              </a:r>
              <a:r>
                <a:rPr lang="en-US" sz="1500" kern="0" dirty="0">
                  <a:latin typeface="Arial" panose="020B0604020202020204" pitchFamily="34" charset="0"/>
                  <a:cs typeface="Arial" panose="020B0604020202020204" pitchFamily="34" charset="0"/>
                </a:rPr>
                <a:t> time de </a:t>
              </a:r>
              <a:r>
                <a:rPr lang="en-US" sz="1500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vendas</a:t>
              </a:r>
              <a:r>
                <a:rPr lang="en-US" sz="1500" kern="0" dirty="0">
                  <a:latin typeface="Arial" panose="020B0604020202020204" pitchFamily="34" charset="0"/>
                  <a:cs typeface="Arial" panose="020B0604020202020204" pitchFamily="34" charset="0"/>
                </a:rPr>
                <a:t> para </a:t>
              </a:r>
              <a:r>
                <a:rPr lang="en-US" sz="1500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criar</a:t>
              </a:r>
              <a:r>
                <a:rPr lang="en-US" sz="1500" kern="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500" b="1" kern="0" dirty="0">
                  <a:latin typeface="Arial" panose="020B0604020202020204" pitchFamily="34" charset="0"/>
                  <a:cs typeface="Arial" panose="020B0604020202020204" pitchFamily="34" charset="0"/>
                </a:rPr>
                <a:t>agendas de </a:t>
              </a:r>
              <a:r>
                <a:rPr lang="en-US" sz="1500" b="1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inovação</a:t>
              </a:r>
              <a:endParaRPr lang="en-US" sz="1500" b="1" kern="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6" name="Picture 8" descr="Idea Icon 3183247">
              <a:extLst>
                <a:ext uri="{FF2B5EF4-FFF2-40B4-BE49-F238E27FC236}">
                  <a16:creationId xmlns:a16="http://schemas.microsoft.com/office/drawing/2014/main" id="{32485759-4A1C-A755-2837-F13DAD86711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50016" y="3756005"/>
              <a:ext cx="1182855" cy="118285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58A17B85-36F1-E551-51C9-34065863E481}"/>
                </a:ext>
              </a:extLst>
            </p:cNvPr>
            <p:cNvSpPr/>
            <p:nvPr/>
          </p:nvSpPr>
          <p:spPr bwMode="auto">
            <a:xfrm>
              <a:off x="226010" y="3657600"/>
              <a:ext cx="5745480" cy="2721878"/>
            </a:xfrm>
            <a:prstGeom prst="rect">
              <a:avLst/>
            </a:prstGeom>
            <a:noFill/>
            <a:ln w="19050">
              <a:solidFill>
                <a:srgbClr val="00B050"/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pt-BR" sz="1200" b="0" i="0" u="none" strike="noStrike" cap="none" normalizeH="0" baseline="0" dirty="0">
                <a:ln>
                  <a:solidFill>
                    <a:srgbClr val="00B050"/>
                  </a:solidFill>
                </a:ln>
                <a:solidFill>
                  <a:schemeClr val="tx1"/>
                </a:solidFill>
                <a:effectLst/>
                <a:latin typeface="IBM Plex Sans" panose="020B0503050203000203" pitchFamily="34" charset="0"/>
              </a:endParaRP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538FB060-67EC-C909-4F98-53AF19F19B2A}"/>
                </a:ext>
              </a:extLst>
            </p:cNvPr>
            <p:cNvSpPr/>
            <p:nvPr/>
          </p:nvSpPr>
          <p:spPr bwMode="auto">
            <a:xfrm>
              <a:off x="6014094" y="3660060"/>
              <a:ext cx="5745480" cy="2721878"/>
            </a:xfrm>
            <a:prstGeom prst="rect">
              <a:avLst/>
            </a:prstGeom>
            <a:noFill/>
            <a:ln w="19050">
              <a:solidFill>
                <a:srgbClr val="FF0000"/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pt-BR" sz="1200" b="0" i="0" u="none" strike="noStrike" cap="none" normalizeH="0" baseline="0" dirty="0">
                <a:ln>
                  <a:solidFill>
                    <a:srgbClr val="00B050"/>
                  </a:solidFill>
                </a:ln>
                <a:solidFill>
                  <a:schemeClr val="tx1"/>
                </a:solidFill>
                <a:effectLst/>
                <a:latin typeface="IBM Plex Sans" panose="020B050305020300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2888513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567364B-9BD5-10E3-2CD4-868BCD6ACB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7" name="Rectangle 6">
            <a:extLst>
              <a:ext uri="{FF2B5EF4-FFF2-40B4-BE49-F238E27FC236}">
                <a16:creationId xmlns:a16="http://schemas.microsoft.com/office/drawing/2014/main" id="{6D0D826A-6F39-D0EE-04D3-545CCFC54E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681A353-04C2-2079-A350-22195C0F3E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3351335-ACCA-407D-2133-0B8F6D8350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AAEB9F1-944B-111E-97B9-AE0F8FEB40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7199113-DB86-49F1-CF86-0FFE5FCF70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logo2-04.png" descr="logo2-04.png">
            <a:extLst>
              <a:ext uri="{FF2B5EF4-FFF2-40B4-BE49-F238E27FC236}">
                <a16:creationId xmlns:a16="http://schemas.microsoft.com/office/drawing/2014/main" id="{ADCC0433-7471-43DB-D315-C9B2B9AC135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20" name="Title 1">
            <a:extLst>
              <a:ext uri="{FF2B5EF4-FFF2-40B4-BE49-F238E27FC236}">
                <a16:creationId xmlns:a16="http://schemas.microsoft.com/office/drawing/2014/main" id="{216B6E15-6710-78CE-6239-76900022B6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10254070" cy="1033669"/>
          </a:xfrm>
        </p:spPr>
        <p:txBody>
          <a:bodyPr>
            <a:normAutofit fontScale="90000"/>
          </a:bodyPr>
          <a:lstStyle/>
          <a:p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Atividades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CP4x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		</a:t>
            </a:r>
            <a:r>
              <a:rPr kumimoji="0" lang="en-US" sz="36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Activities CP4x</a:t>
            </a:r>
            <a:endParaRPr lang="en-US" sz="3600" i="1" dirty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E566DA1-048B-75AB-A64C-E8A362E94D25}"/>
              </a:ext>
            </a:extLst>
          </p:cNvPr>
          <p:cNvSpPr/>
          <p:nvPr/>
        </p:nvSpPr>
        <p:spPr>
          <a:xfrm>
            <a:off x="200888" y="1622745"/>
            <a:ext cx="8115305" cy="37923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algn="ctr"/>
            <a:r>
              <a:rPr lang="en-US" sz="20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00"/>
                </a:highlight>
              </a:rPr>
              <a:t>Cloud Pak for Integration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</a:rPr>
              <a:t>APP Connect Enterprise (ACE/IIB/Broker)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</a:rPr>
              <a:t>API Connect (APIC)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</a:rPr>
              <a:t>API Gateway/</a:t>
            </a:r>
            <a:r>
              <a:rPr lang="en-US" sz="2000" dirty="0" err="1">
                <a:solidFill>
                  <a:schemeClr val="tx1"/>
                </a:solidFill>
              </a:rPr>
              <a:t>Datapower</a:t>
            </a:r>
            <a:endParaRPr lang="en-US" sz="2000" dirty="0">
              <a:solidFill>
                <a:schemeClr val="tx1"/>
              </a:solidFill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</a:rPr>
              <a:t>Aspera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</a:rPr>
              <a:t>Event Stream/Kafka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</a:rPr>
              <a:t>MQ</a:t>
            </a:r>
            <a:r>
              <a:rPr lang="en-US" sz="2000" dirty="0">
                <a:solidFill>
                  <a:schemeClr val="tx1"/>
                </a:solidFill>
                <a:sym typeface="Wingdings" panose="05000000000000000000" pitchFamily="2" charset="2"/>
              </a:rPr>
              <a:t> 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tx1"/>
              </a:solidFill>
            </a:endParaRPr>
          </a:p>
          <a:p>
            <a:pPr algn="just"/>
            <a:r>
              <a:rPr lang="en-US" sz="2000" dirty="0">
                <a:solidFill>
                  <a:schemeClr val="tx1"/>
                </a:solidFill>
              </a:rPr>
              <a:t>Futuro breve: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</a:rPr>
              <a:t>Event Automation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</a:rPr>
              <a:t>Hybrid iPaaS 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dirty="0" err="1">
                <a:solidFill>
                  <a:schemeClr val="tx1"/>
                </a:solidFill>
              </a:rPr>
              <a:t>WebMethods</a:t>
            </a:r>
            <a:r>
              <a:rPr lang="en-US" sz="2000" dirty="0">
                <a:solidFill>
                  <a:schemeClr val="tx1"/>
                </a:solidFill>
              </a:rPr>
              <a:t> Integration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tx1"/>
              </a:solidFill>
              <a:sym typeface="Wingdings" panose="05000000000000000000" pitchFamily="2" charset="2"/>
            </a:endParaRPr>
          </a:p>
        </p:txBody>
      </p:sp>
      <p:pic>
        <p:nvPicPr>
          <p:cNvPr id="2052" name="Picture 4" descr="IBM Cloud Pak for Integration | IBM CP4I">
            <a:extLst>
              <a:ext uri="{FF2B5EF4-FFF2-40B4-BE49-F238E27FC236}">
                <a16:creationId xmlns:a16="http://schemas.microsoft.com/office/drawing/2014/main" id="{85988C5C-9FAE-ED82-4C8D-3A15BF1ED15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9346"/>
          <a:stretch/>
        </p:blipFill>
        <p:spPr bwMode="auto">
          <a:xfrm>
            <a:off x="4402287" y="2655253"/>
            <a:ext cx="7426023" cy="11882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E8755712-55D1-FFBF-878E-33B00D18A5D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08321" y="4327457"/>
            <a:ext cx="2217520" cy="217533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DA8D76E9-BB08-D4B3-3A0C-3E58C2E3059C}"/>
              </a:ext>
            </a:extLst>
          </p:cNvPr>
          <p:cNvSpPr txBox="1"/>
          <p:nvPr/>
        </p:nvSpPr>
        <p:spPr>
          <a:xfrm>
            <a:off x="7306129" y="4024023"/>
            <a:ext cx="244474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800" dirty="0">
                <a:solidFill>
                  <a:schemeClr val="tx1"/>
                </a:solidFill>
              </a:rPr>
              <a:t>IBM Hybrid iPaaS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0F87E82-F6B4-1B67-2587-F9EC4DD510D1}"/>
              </a:ext>
            </a:extLst>
          </p:cNvPr>
          <p:cNvSpPr txBox="1"/>
          <p:nvPr/>
        </p:nvSpPr>
        <p:spPr>
          <a:xfrm>
            <a:off x="6197601" y="2303149"/>
            <a:ext cx="42371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800" dirty="0">
                <a:solidFill>
                  <a:schemeClr val="tx1"/>
                </a:solidFill>
              </a:rPr>
              <a:t>IBM Cloud Pak for Integration</a:t>
            </a:r>
          </a:p>
        </p:txBody>
      </p:sp>
    </p:spTree>
    <p:extLst>
      <p:ext uri="{BB962C8B-B14F-4D97-AF65-F5344CB8AC3E}">
        <p14:creationId xmlns:p14="http://schemas.microsoft.com/office/powerpoint/2010/main" val="209770748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E7D4C51C-A353-A970-8159-2D198FB567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" name="Rectangle 4">
            <a:extLst>
              <a:ext uri="{FF2B5EF4-FFF2-40B4-BE49-F238E27FC236}">
                <a16:creationId xmlns:a16="http://schemas.microsoft.com/office/drawing/2014/main" id="{D502B921-57EA-889E-8C02-DA31F29C67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234A41C-9EC9-1AAC-0BE4-80EC551670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C5CB6E1-38D5-CEC7-8511-34A9F0C6DC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74EEDCE-2EA8-A2A0-1EAA-940627E34A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DC72291-34AD-DF5D-6100-C74993FCF9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9CFBADE-4F12-2255-C97C-4E5F41B0F1FA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odutizacao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do IPSec  09/04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JWT/Token no MQ  21/05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Workshop MQ x Kafka  TBD</a:t>
            </a:r>
          </a:p>
          <a:p>
            <a:pPr marL="0" lvl="2" algn="just"/>
            <a:endParaRPr lang="pt-BR" sz="1100" dirty="0">
              <a:solidFill>
                <a:schemeClr val="tx1"/>
              </a:solidFill>
              <a:highlight>
                <a:srgbClr val="00FF00"/>
              </a:highlight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FADDCB5-60D6-6865-09F6-FFF0A5B3D429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C6A6F76-9013-0250-F386-12A5D2EC7B12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MQ</a:t>
            </a:r>
            <a:r>
              <a:rPr lang="pt-BR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0" lvl="2" algn="ctr">
              <a:lnSpc>
                <a:spcPct val="100000"/>
              </a:lnSpc>
            </a:pPr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miani / Douglas / Ronaldo</a:t>
            </a:r>
            <a:endParaRPr 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>
              <a:lnSpc>
                <a:spcPct val="100000"/>
              </a:lnSpc>
            </a:pPr>
            <a:endParaRPr lang="en-US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/>
            <a:r>
              <a:rPr lang="en-US" sz="12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09/04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21/05/2025</a:t>
            </a:r>
            <a:br>
              <a:rPr lang="pt-BR" sz="12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</a:br>
            <a:r>
              <a:rPr lang="pt-BR" sz="12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6/06/2025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7A38BBC0-A8ED-4667-5A63-CFC163CBB9BA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41FCB82-8C6F-98AA-A348-8A0723D01868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E16AF86A-B303-4AB6-D177-9A57CDB0A5E0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A0F27142-0FBB-B9DF-9DA9-80BBDD94BF93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8FF9D7EA-81F4-64DD-26DC-4F6E7916CA4F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3EDC0651-03BE-805B-434D-0020D8C8555C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endPara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9BFEAA66-8CBA-15AE-C843-2D1A0AAA517D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rimeira reunião com o time </a:t>
              </a:r>
            </a:p>
            <a:p>
              <a:pPr marL="0" lvl="2" algn="just"/>
              <a:r>
                <a:rPr lang="pt-BR" sz="7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rodutizacao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do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Secu</a:t>
              </a:r>
              <a:endParaRPr lang="pt-BR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igração: 204 Servidores total  84 OK 2024 e 118 p/ fazer 2025)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Backlevel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: 30/09 9.2 (faltam 20 servidores)  App .NET com Windows velho (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ex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: 2016) e pensando em MQ 9.4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EKS com MQ/Container ou OCP/MQ </a:t>
              </a:r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228482B8-9088-46AD-FE79-004AAC04F10D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40" name="Straight Arrow Connector 4">
                <a:extLst>
                  <a:ext uri="{FF2B5EF4-FFF2-40B4-BE49-F238E27FC236}">
                    <a16:creationId xmlns:a16="http://schemas.microsoft.com/office/drawing/2014/main" id="{1ABD8333-D6D4-2398-657E-E507C31C116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" name="Oval 6">
                <a:extLst>
                  <a:ext uri="{FF2B5EF4-FFF2-40B4-BE49-F238E27FC236}">
                    <a16:creationId xmlns:a16="http://schemas.microsoft.com/office/drawing/2014/main" id="{7BEA581F-5E8E-63E1-178C-1B15DF399848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2" name="Oval 6">
                <a:extLst>
                  <a:ext uri="{FF2B5EF4-FFF2-40B4-BE49-F238E27FC236}">
                    <a16:creationId xmlns:a16="http://schemas.microsoft.com/office/drawing/2014/main" id="{4E060F5B-14C4-795F-78CD-D4687F64C571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113F23A7-534F-0FE5-BF16-F87BD9822508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5" name="Rectangle 44">
                  <a:extLst>
                    <a:ext uri="{FF2B5EF4-FFF2-40B4-BE49-F238E27FC236}">
                      <a16:creationId xmlns:a16="http://schemas.microsoft.com/office/drawing/2014/main" id="{B4BDA5A2-F520-795D-A029-2B4E48E54894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an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46" name="Rectangle 45">
                  <a:extLst>
                    <a:ext uri="{FF2B5EF4-FFF2-40B4-BE49-F238E27FC236}">
                      <a16:creationId xmlns:a16="http://schemas.microsoft.com/office/drawing/2014/main" id="{17F6291E-5815-FAC7-D953-9C683E5F3206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Fe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B1D795D6-DC47-E0E3-FC27-F509DBE461D3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r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44" name="Oval 6">
                <a:extLst>
                  <a:ext uri="{FF2B5EF4-FFF2-40B4-BE49-F238E27FC236}">
                    <a16:creationId xmlns:a16="http://schemas.microsoft.com/office/drawing/2014/main" id="{CBDC1443-085C-008D-4837-9182625CAA20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59C273E9-95AC-1B3B-361A-338B3D2A546C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1DB6C847-0BA3-46AA-2F80-5EF11C4A23BD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7BCE7D54-F669-0DBD-5827-36321CD907A1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CD57396B-887C-5CE1-F40E-D6F0F3E57C8D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7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rodutizacao</a:t>
              </a:r>
              <a:r>
                <a:rPr lang="pt-BR" sz="7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do IPSec  OK 09/04</a:t>
              </a:r>
            </a:p>
            <a:p>
              <a:pPr marL="0" lvl="2" algn="just"/>
              <a:r>
                <a:rPr lang="pt-BR" sz="7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igração MQ 9.3: 204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ot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(84 OK 2024 e faltam 118 2025)  42%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in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(prev. fim 03/2026) 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Q 9.2 do SPB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backlevel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em 30/09  (faltam 20 servidores) =&gt; Itaú agendar conversa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IDEA: MQ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port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for AWS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Graviton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Aguard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.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lab</a:t>
              </a:r>
              <a:endParaRPr lang="pt-BR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JWT/Token no MQ  agendado 21/05</a:t>
              </a: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DCC9B0EE-7ECC-4459-69CF-DF31F5E465A9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7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JWT/Token no MQ  Executado 21/05</a:t>
              </a:r>
            </a:p>
            <a:p>
              <a:pPr marL="0" lvl="2" algn="just"/>
              <a:r>
                <a:rPr lang="pt-BR" sz="7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juda na cópia msg w/ Streaming 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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qmq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fica = msg original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igração/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-existência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- SPB==&gt; canal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nder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/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ceiver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==&gt;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n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-premisse</a:t>
              </a:r>
            </a:p>
            <a:p>
              <a:pPr marL="0" lvl="2" algn="just"/>
              <a:r>
                <a:rPr lang="pt-BR" sz="7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igração MQ 9.3: 204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ot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(92 OK 2024 e faltam 112 2025)  45%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in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(prev. fim 03/2026)  </a:t>
              </a:r>
            </a:p>
            <a:p>
              <a:pPr marL="287338" lvl="3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estrição Atacado ==&gt; Itaú agendar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Q 9.2 do SPB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backlevel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em 30/09  (faltam 20 servers)  ==&gt; Itaú agendar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IDEA: MQ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port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for AWS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Graviton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Aguard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.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lab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Arquitetura para migração MQ do SPB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n-premise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para AWS  IBM analisar o pedido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D303E229-5125-C25F-1E8B-B6E4FC0DD90C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7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rum</a:t>
              </a:r>
              <a:r>
                <a:rPr lang="pt-BR" sz="7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MQ 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x Event/Kafka –TBD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igração / Convivência (canais SDR/RCV)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en-US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oubt about clone message (Stream MQ)</a:t>
              </a:r>
              <a:endParaRPr lang="pt-BR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0" lvl="2" algn="just"/>
              <a:r>
                <a:rPr lang="pt-BR" sz="7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igração MQ 9.3: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in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204 (102 OK 2024 e falta 102 2025)  51%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in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(prev. fim 03/2026)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estrição Atacado ==&gt; 18/06 primeira reunião com time </a:t>
              </a:r>
            </a:p>
            <a:p>
              <a:pPr marL="0" lvl="2" algn="just"/>
              <a:r>
                <a:rPr lang="pt-BR" sz="7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/Backlog: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?: Publicar o produto MQ no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tackspot</a:t>
              </a:r>
              <a:endParaRPr lang="pt-BR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?: EKS/OCP com MQ/Container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?: DR do MQ 9.4</a:t>
              </a:r>
            </a:p>
          </p:txBody>
        </p: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E3BF64F9-E263-A142-E538-C951D99F8C79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32" name="Straight Arrow Connector 4">
                <a:extLst>
                  <a:ext uri="{FF2B5EF4-FFF2-40B4-BE49-F238E27FC236}">
                    <a16:creationId xmlns:a16="http://schemas.microsoft.com/office/drawing/2014/main" id="{8976903D-F481-19F0-B898-7F4E608032A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3" name="Oval 6">
                <a:extLst>
                  <a:ext uri="{FF2B5EF4-FFF2-40B4-BE49-F238E27FC236}">
                    <a16:creationId xmlns:a16="http://schemas.microsoft.com/office/drawing/2014/main" id="{B115065E-055D-F402-CBAE-A28C1027EBBA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4" name="Oval 6">
                <a:extLst>
                  <a:ext uri="{FF2B5EF4-FFF2-40B4-BE49-F238E27FC236}">
                    <a16:creationId xmlns:a16="http://schemas.microsoft.com/office/drawing/2014/main" id="{1DB176B5-0996-52C3-E508-A6A867078DF5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35" name="Group 34">
                <a:extLst>
                  <a:ext uri="{FF2B5EF4-FFF2-40B4-BE49-F238E27FC236}">
                    <a16:creationId xmlns:a16="http://schemas.microsoft.com/office/drawing/2014/main" id="{E29DD81A-5AF0-3CE3-7CB0-A778B77BAA21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37" name="Rectangle 36">
                  <a:extLst>
                    <a:ext uri="{FF2B5EF4-FFF2-40B4-BE49-F238E27FC236}">
                      <a16:creationId xmlns:a16="http://schemas.microsoft.com/office/drawing/2014/main" id="{65EE4F8D-FB4F-3880-4AA2-98A9581B7211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 err="1">
                      <a:solidFill>
                        <a:srgbClr val="1D3649"/>
                      </a:solidFill>
                    </a:rPr>
                    <a:t>Abr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38" name="Rectangle 37">
                  <a:extLst>
                    <a:ext uri="{FF2B5EF4-FFF2-40B4-BE49-F238E27FC236}">
                      <a16:creationId xmlns:a16="http://schemas.microsoft.com/office/drawing/2014/main" id="{CBB9FA02-D7AE-3CDC-0A1F-E2E90418190F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i/25</a:t>
                  </a:r>
                  <a:endParaRPr lang="en-US" dirty="0"/>
                </a:p>
              </p:txBody>
            </p:sp>
            <p:sp>
              <p:nvSpPr>
                <p:cNvPr id="39" name="Rectangle 38">
                  <a:extLst>
                    <a:ext uri="{FF2B5EF4-FFF2-40B4-BE49-F238E27FC236}">
                      <a16:creationId xmlns:a16="http://schemas.microsoft.com/office/drawing/2014/main" id="{C4EF7742-6881-2654-904A-F5F11ABD8819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Jun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36" name="Oval 6">
                <a:extLst>
                  <a:ext uri="{FF2B5EF4-FFF2-40B4-BE49-F238E27FC236}">
                    <a16:creationId xmlns:a16="http://schemas.microsoft.com/office/drawing/2014/main" id="{F564EAC3-5ACF-9A9B-9AC0-7EAC1CFDF5B0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48" name="Title 1">
            <a:extLst>
              <a:ext uri="{FF2B5EF4-FFF2-40B4-BE49-F238E27FC236}">
                <a16:creationId xmlns:a16="http://schemas.microsoft.com/office/drawing/2014/main" id="{E1FECB45-885A-B1D5-868D-463CA1FCE6E8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pic>
        <p:nvPicPr>
          <p:cNvPr id="49" name="Picture 4" descr="IBM Cloud Pak for Integration | IBM CP4I">
            <a:extLst>
              <a:ext uri="{FF2B5EF4-FFF2-40B4-BE49-F238E27FC236}">
                <a16:creationId xmlns:a16="http://schemas.microsoft.com/office/drawing/2014/main" id="{46DA1586-841F-DB0C-F41F-D2D1FF73913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309" t="71822" r="54114" b="8893"/>
          <a:stretch/>
        </p:blipFill>
        <p:spPr bwMode="auto">
          <a:xfrm>
            <a:off x="119664" y="111397"/>
            <a:ext cx="1128789" cy="1186493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327122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CCA82FF3-0A69-5EB5-7045-7510581F7A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" name="Rectangle 4">
            <a:extLst>
              <a:ext uri="{FF2B5EF4-FFF2-40B4-BE49-F238E27FC236}">
                <a16:creationId xmlns:a16="http://schemas.microsoft.com/office/drawing/2014/main" id="{C15E6D97-90B8-AB04-EB30-5FE3479E4E2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E31FCC0-ECE0-E1C0-FCD1-EE2725B95FD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219CC24-1E38-615D-148F-A7D97E3D0C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1751CD2-2653-AD86-196B-D9FBD5A22C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5127054-811A-77DF-A612-974D8BE99A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0EB3E3A-DC78-ABE6-879D-8B353DCFDA40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odutizacao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do IPSec  09/04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JWT/Token no MQ  21/05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xceção suporte Windows 2026  19/09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MEC chamado TS020475226  07/10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Workshop MQ x Kafka  TBD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7916277-BC01-F107-F833-3DC130346357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C4455BA-D3E9-9793-68CD-C3583A4E6304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MQ</a:t>
            </a:r>
            <a:r>
              <a:rPr lang="pt-BR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0" lvl="2" algn="ctr">
              <a:lnSpc>
                <a:spcPct val="100000"/>
              </a:lnSpc>
            </a:pPr>
            <a:r>
              <a:rPr lang="en-US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miani / Douglas / Ronaldo / Orlean</a:t>
            </a:r>
            <a:endParaRPr lang="en-US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>
              <a:lnSpc>
                <a:spcPct val="100000"/>
              </a:lnSpc>
            </a:pPr>
            <a:endParaRPr lang="en-US" sz="105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/>
            <a:r>
              <a:rPr lang="en-US" sz="700" dirty="0">
                <a:solidFill>
                  <a:schemeClr val="tx1"/>
                </a:solidFill>
              </a:rPr>
              <a:t>11/03/2025, </a:t>
            </a:r>
            <a:r>
              <a:rPr lang="pt-BR" sz="700" dirty="0">
                <a:solidFill>
                  <a:schemeClr val="tx1"/>
                </a:solidFill>
              </a:rPr>
              <a:t>09/04/2025,</a:t>
            </a:r>
          </a:p>
          <a:p>
            <a:pPr marL="0" lvl="2" algn="ctr"/>
            <a:r>
              <a:rPr lang="pt-BR" sz="700" dirty="0">
                <a:solidFill>
                  <a:schemeClr val="tx1"/>
                </a:solidFill>
              </a:rPr>
              <a:t>21/05/2025, 16/06/2025,</a:t>
            </a:r>
          </a:p>
          <a:p>
            <a:pPr marL="0" lvl="2" algn="ctr"/>
            <a:r>
              <a:rPr lang="pt-BR" sz="700" dirty="0">
                <a:solidFill>
                  <a:schemeClr val="tx1"/>
                </a:solidFill>
              </a:rPr>
              <a:t>02/07/2025, 23/07/2025,</a:t>
            </a:r>
          </a:p>
          <a:p>
            <a:pPr marL="0" lvl="2" algn="ctr"/>
            <a:r>
              <a:rPr lang="pt-BR" sz="700" dirty="0">
                <a:solidFill>
                  <a:schemeClr val="tx1"/>
                </a:solidFill>
              </a:rPr>
              <a:t>13/08/2025, 27/08/2025,</a:t>
            </a:r>
          </a:p>
          <a:p>
            <a:pPr marL="0" lvl="2" algn="ctr"/>
            <a:r>
              <a:rPr lang="pt-BR" sz="700" dirty="0">
                <a:solidFill>
                  <a:schemeClr val="tx1"/>
                </a:solidFill>
              </a:rPr>
              <a:t>03/09/2025, 10/09/2025,</a:t>
            </a:r>
          </a:p>
          <a:p>
            <a:pPr marL="0" lvl="2" algn="ctr"/>
            <a:r>
              <a:rPr lang="pt-BR" sz="9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22/10/2025</a:t>
            </a:r>
          </a:p>
          <a:p>
            <a:pPr marL="0" lvl="2" algn="ctr"/>
            <a:endParaRPr lang="pt-BR" sz="10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9D0F42A8-420D-49C4-F63A-F7BAA292A2A2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20CC1768-FBAA-CDE6-CCED-0C7473F11500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D425F7AF-B97C-BE9A-B427-2074C7686FC2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6EC87346-E5B2-9F97-65CA-9DB55A7CC2A4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97F45830-8E04-1A06-389C-4A5003A45C7F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65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3: Conta corrente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 z/OS  MQ AWS EC2 Linux  proc. Batch (30M/trans)</a:t>
              </a:r>
            </a:p>
            <a:p>
              <a:pPr marL="230188" lvl="3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23/07 – Plano de ação (c/</a:t>
              </a:r>
              <a:r>
                <a:rPr lang="pt-BR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lab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) para coletar traces outra rotina diária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3: MQ JWT (problema com </a:t>
              </a:r>
              <a:r>
                <a:rPr lang="pt-BR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ssuer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)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4: </a:t>
              </a:r>
              <a:r>
                <a:rPr lang="pt-BR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rum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MQ x Event/Kafka –TBD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4: Workshop MQ (como usar MQ em container).</a:t>
              </a:r>
            </a:p>
            <a:p>
              <a:pPr marL="230188" lvl="3" indent="-115888" algn="just">
                <a:buFont typeface="Arial" panose="020B0604020202020204" pitchFamily="34" charset="0"/>
                <a:buChar char="•"/>
              </a:pPr>
              <a:r>
                <a:rPr lang="pt-BR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sil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– </a:t>
              </a:r>
              <a:r>
                <a:rPr lang="pt-BR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de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: Sample (JMS: QM, fila, persistente, COA/COD)</a:t>
              </a:r>
            </a:p>
            <a:p>
              <a:pPr marL="230188" lvl="3" indent="-115888" algn="just">
                <a:buFont typeface="Arial" panose="020B0604020202020204" pitchFamily="34" charset="0"/>
                <a:buChar char="•"/>
              </a:pPr>
              <a:r>
                <a:rPr lang="pt-BR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sil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– Infra: RDQM mais próximo 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do 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tivo/Ativo?!</a:t>
              </a:r>
            </a:p>
            <a:p>
              <a:pPr marL="0" lvl="2" algn="just"/>
              <a:r>
                <a:rPr lang="pt-BR" sz="65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igração MQ 9.3: </a:t>
              </a:r>
              <a:r>
                <a:rPr lang="pt-BR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ot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: 204, OK: 102=&gt;2024, 110=&gt;2025 (54%) (prev. fim 03/2026)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estrição Atacado ==&gt; 18/06 primeira reunião com time, tentando nova reuniã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igração / Convivência (canais SDR/RCV)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en-US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oubt about clone message (Stream MQ) </a:t>
              </a:r>
              <a:endParaRPr lang="pt-BR" sz="6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7E22B0EB-5D24-34FE-BC08-2E5A9B6E10FD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65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Migração MQ 9.3: </a:t>
              </a:r>
              <a:r>
                <a:rPr lang="pt-BR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ot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: 204, OK: 102=&gt;2024, 110=&gt;2025 (54%) (prev. fim 03/2026)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Chamado migração na Rotina Mensal (E descoberta lentidão no </a:t>
              </a:r>
              <a:r>
                <a:rPr lang="pt-BR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n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premisse)</a:t>
              </a:r>
            </a:p>
            <a:p>
              <a:pPr marL="0" lvl="2" algn="just"/>
              <a:r>
                <a:rPr lang="pt-BR" sz="65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/Backlog: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?: EKS/OCP com MQ/Container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?: DR do MQ 9.4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2026: Publicar o produto MQ no </a:t>
              </a:r>
              <a:r>
                <a:rPr lang="pt-BR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tackspot</a:t>
              </a:r>
              <a:endParaRPr lang="pt-BR" sz="6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600" dirty="0" err="1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aralizado</a:t>
              </a:r>
              <a:endParaRPr lang="pt-BR" sz="600" dirty="0">
                <a:solidFill>
                  <a:schemeClr val="tx1"/>
                </a:solidFill>
                <a:highlight>
                  <a:srgbClr val="C0C0C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?: Restrição Atacado ==&gt; 18/06 primeira reunião com time, tentando nova reuniã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?: MQ JWT (problema com </a:t>
              </a:r>
              <a:r>
                <a:rPr lang="pt-BR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ssuer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)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?: </a:t>
              </a:r>
              <a:r>
                <a:rPr lang="pt-BR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rum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MQ x Event/Kafka –TBD            &amp;      Workshop MQ (MQ em container).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?: Migração / Convivência (canais SDR/RCV)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?: </a:t>
              </a:r>
              <a:r>
                <a:rPr lang="en-US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oubt about clone message (Stream MQ) </a:t>
              </a:r>
              <a:endParaRPr lang="pt-BR" sz="6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3399BC71-F48A-62FF-1FC5-6A7E292DA2C6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65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Migração MQ 9.3: </a:t>
              </a:r>
              <a:r>
                <a:rPr lang="pt-BR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ot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: 204, OK: 102=&gt;2024, 131=&gt;2025 (63%) (prev. fim 03/2026)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Chamado migração na Rotina Mensal (E descoberta lentidão no </a:t>
              </a:r>
              <a:r>
                <a:rPr lang="pt-BR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n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premisse)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  <a:hlinkClick r:id="rId2"/>
                </a:rPr>
                <a:t>IDEA:MESNS-I-645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</a:t>
              </a:r>
              <a:r>
                <a:rPr lang="en-US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Q support for AWS Graviton (ARM64)“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en-US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</a:t>
              </a:r>
              <a:r>
                <a:rPr lang="en-US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Dúvidas</a:t>
              </a:r>
              <a:r>
                <a:rPr lang="en-US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</a:t>
              </a:r>
              <a:r>
                <a:rPr lang="en-US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obre</a:t>
              </a:r>
              <a:r>
                <a:rPr lang="en-US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MQ 9.3 </a:t>
              </a:r>
              <a:r>
                <a:rPr lang="en-US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ado</a:t>
              </a:r>
              <a:r>
                <a:rPr lang="en-US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no Windows Server 2016</a:t>
              </a:r>
              <a:endParaRPr lang="pt-BR" sz="6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600" dirty="0" err="1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aralizado</a:t>
              </a:r>
              <a:endParaRPr lang="pt-BR" sz="600" dirty="0">
                <a:solidFill>
                  <a:schemeClr val="tx1"/>
                </a:solidFill>
                <a:highlight>
                  <a:srgbClr val="C0C0C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?: Restrição Atacado ==&gt; 18/06 primeira reunião com time, tentando nova reuniã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?: MQ JWT (problema com </a:t>
              </a:r>
              <a:r>
                <a:rPr lang="pt-BR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ssuer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)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?: </a:t>
              </a:r>
              <a:r>
                <a:rPr lang="pt-BR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rum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MQ x Event/Kafka –TBD            &amp;      Workshop MQ (MQ em container).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?: Migração / Convivência (canais SDR/RCV)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?: </a:t>
              </a:r>
              <a:r>
                <a:rPr lang="en-US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oubt about clone message (Stream MQ) </a:t>
              </a:r>
              <a:endParaRPr lang="pt-BR" sz="6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6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94FC48CD-0570-6C40-9388-A9E6D017E6CB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40" name="Straight Arrow Connector 4">
                <a:extLst>
                  <a:ext uri="{FF2B5EF4-FFF2-40B4-BE49-F238E27FC236}">
                    <a16:creationId xmlns:a16="http://schemas.microsoft.com/office/drawing/2014/main" id="{15A4F92B-19C7-54EB-8772-0ECC278613F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" name="Oval 6">
                <a:extLst>
                  <a:ext uri="{FF2B5EF4-FFF2-40B4-BE49-F238E27FC236}">
                    <a16:creationId xmlns:a16="http://schemas.microsoft.com/office/drawing/2014/main" id="{CD3C8E9F-9F64-81E6-1298-05E38F641E3F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2" name="Oval 6">
                <a:extLst>
                  <a:ext uri="{FF2B5EF4-FFF2-40B4-BE49-F238E27FC236}">
                    <a16:creationId xmlns:a16="http://schemas.microsoft.com/office/drawing/2014/main" id="{DD579F68-8DF3-EE8D-51A3-1A0A741843DC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9F7B7C05-639A-1C3E-E491-AB13FD479B18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3" cy="317869"/>
                <a:chOff x="364804" y="3907694"/>
                <a:chExt cx="3789495" cy="317869"/>
              </a:xfrm>
              <a:noFill/>
            </p:grpSpPr>
            <p:sp>
              <p:nvSpPr>
                <p:cNvPr id="45" name="Rectangle 44">
                  <a:extLst>
                    <a:ext uri="{FF2B5EF4-FFF2-40B4-BE49-F238E27FC236}">
                      <a16:creationId xmlns:a16="http://schemas.microsoft.com/office/drawing/2014/main" id="{3EE45CA7-D754-3378-89B9-6728A8248A6D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ul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46" name="Rectangle 45">
                  <a:extLst>
                    <a:ext uri="{FF2B5EF4-FFF2-40B4-BE49-F238E27FC236}">
                      <a16:creationId xmlns:a16="http://schemas.microsoft.com/office/drawing/2014/main" id="{4C0109DF-10BC-8CD5-A0AB-400E2905828E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Ago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E517AE3D-5DC9-9850-2AD5-0F0398C0D692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Set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44" name="Oval 6">
                <a:extLst>
                  <a:ext uri="{FF2B5EF4-FFF2-40B4-BE49-F238E27FC236}">
                    <a16:creationId xmlns:a16="http://schemas.microsoft.com/office/drawing/2014/main" id="{235E8EBE-7F32-05FD-EA98-176291C8690D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099B7968-F650-DCEA-A0A5-92332BA2518F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5C9A50F7-5B64-AFC9-897B-691BBE38C98B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3B1790FF-62AE-D7EE-E98F-700B520F3FFC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C52088BD-E241-32F3-D401-EA5F267A951F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65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4: Migração MQ 9.3: </a:t>
              </a:r>
              <a:r>
                <a:rPr lang="pt-BR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ot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: 204, OK: 102=&gt;2024, 132=&gt;2025 (64%) (prev. fim 03/2026)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Chamado migração na Rotina Mensal (E descoberta lentidão no </a:t>
              </a:r>
              <a:r>
                <a:rPr lang="pt-BR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n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premisse)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  <a:hlinkClick r:id="rId2"/>
                </a:rPr>
                <a:t>IDEA:MESNS-I-645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</a:t>
              </a:r>
              <a:r>
                <a:rPr lang="en-US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Q support for AWS Graviton (ARM64)“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en-US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</a:t>
              </a:r>
              <a:r>
                <a:rPr lang="en-US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Dúvidas</a:t>
              </a:r>
              <a:r>
                <a:rPr lang="en-US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</a:t>
              </a:r>
              <a:r>
                <a:rPr lang="en-US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obre</a:t>
              </a:r>
              <a:r>
                <a:rPr lang="en-US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MQ 9.3 </a:t>
              </a:r>
              <a:r>
                <a:rPr lang="en-US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ado</a:t>
              </a:r>
              <a:r>
                <a:rPr lang="en-US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no Windows Server 2016</a:t>
              </a:r>
              <a:endParaRPr lang="pt-BR" sz="6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6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ar</a:t>
              </a:r>
              <a:endParaRPr lang="pt-BR" sz="650" baseline="-25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65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uporte para usar EXITS (COA/COD)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edido para IBM 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obre melhoria no atendimento dos chamados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6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A433A465-D5E8-03C4-2424-D9AA99A3E94C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640B18F6-8CEE-8FE5-1117-4A2A7F1768E8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</p:txBody>
        </p: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D65A4A2F-D977-456C-8F51-3D4D1F112601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32" name="Straight Arrow Connector 4">
                <a:extLst>
                  <a:ext uri="{FF2B5EF4-FFF2-40B4-BE49-F238E27FC236}">
                    <a16:creationId xmlns:a16="http://schemas.microsoft.com/office/drawing/2014/main" id="{7F948486-CBF4-D512-D741-396F1401630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3" name="Oval 6">
                <a:extLst>
                  <a:ext uri="{FF2B5EF4-FFF2-40B4-BE49-F238E27FC236}">
                    <a16:creationId xmlns:a16="http://schemas.microsoft.com/office/drawing/2014/main" id="{E970C871-1F1D-4040-1D6A-601C0B5A1C32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4" name="Oval 6">
                <a:extLst>
                  <a:ext uri="{FF2B5EF4-FFF2-40B4-BE49-F238E27FC236}">
                    <a16:creationId xmlns:a16="http://schemas.microsoft.com/office/drawing/2014/main" id="{6B007CB5-3506-80E7-E7DE-90D8A3550509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35" name="Group 34">
                <a:extLst>
                  <a:ext uri="{FF2B5EF4-FFF2-40B4-BE49-F238E27FC236}">
                    <a16:creationId xmlns:a16="http://schemas.microsoft.com/office/drawing/2014/main" id="{EDFCC19E-EB58-0E31-1FF8-83FC6A22749F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3" cy="317869"/>
                <a:chOff x="364804" y="3907694"/>
                <a:chExt cx="3789495" cy="317869"/>
              </a:xfrm>
              <a:noFill/>
            </p:grpSpPr>
            <p:sp>
              <p:nvSpPr>
                <p:cNvPr id="37" name="Rectangle 36">
                  <a:extLst>
                    <a:ext uri="{FF2B5EF4-FFF2-40B4-BE49-F238E27FC236}">
                      <a16:creationId xmlns:a16="http://schemas.microsoft.com/office/drawing/2014/main" id="{6EA3331D-8170-4033-7FD7-8D7085001518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>
                      <a:solidFill>
                        <a:srgbClr val="1D3649"/>
                      </a:solidFill>
                    </a:rPr>
                    <a:t>Out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38" name="Rectangle 37">
                  <a:extLst>
                    <a:ext uri="{FF2B5EF4-FFF2-40B4-BE49-F238E27FC236}">
                      <a16:creationId xmlns:a16="http://schemas.microsoft.com/office/drawing/2014/main" id="{7FCF2251-6B96-D512-69BE-5B4B2B282FE6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No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39" name="Rectangle 38">
                  <a:extLst>
                    <a:ext uri="{FF2B5EF4-FFF2-40B4-BE49-F238E27FC236}">
                      <a16:creationId xmlns:a16="http://schemas.microsoft.com/office/drawing/2014/main" id="{4C406243-F2AD-E765-32EA-157C426A3367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Dez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36" name="Oval 6">
                <a:extLst>
                  <a:ext uri="{FF2B5EF4-FFF2-40B4-BE49-F238E27FC236}">
                    <a16:creationId xmlns:a16="http://schemas.microsoft.com/office/drawing/2014/main" id="{7154A0B3-DB4E-205A-658B-778B132A4CA6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48" name="Title 1">
            <a:extLst>
              <a:ext uri="{FF2B5EF4-FFF2-40B4-BE49-F238E27FC236}">
                <a16:creationId xmlns:a16="http://schemas.microsoft.com/office/drawing/2014/main" id="{63B747F7-ED25-B395-0284-0F293DFF2F2B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pic>
        <p:nvPicPr>
          <p:cNvPr id="49" name="Picture 4" descr="IBM Cloud Pak for Integration | IBM CP4I">
            <a:extLst>
              <a:ext uri="{FF2B5EF4-FFF2-40B4-BE49-F238E27FC236}">
                <a16:creationId xmlns:a16="http://schemas.microsoft.com/office/drawing/2014/main" id="{ACED8FAD-0D89-9CDA-43B6-F5FF7371F00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309" t="71822" r="54114" b="8893"/>
          <a:stretch/>
        </p:blipFill>
        <p:spPr bwMode="auto">
          <a:xfrm>
            <a:off x="119664" y="111397"/>
            <a:ext cx="1128789" cy="1186493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4050874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1D16351-6B0B-498B-5E97-98B2013074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" name="Rectangle 4">
            <a:extLst>
              <a:ext uri="{FF2B5EF4-FFF2-40B4-BE49-F238E27FC236}">
                <a16:creationId xmlns:a16="http://schemas.microsoft.com/office/drawing/2014/main" id="{9F6A2957-7DD1-7B58-BC0A-BC2F296B4C0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5D64DAB-DCE8-CA85-DA6B-E4165DEF60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F0873C5-CEC5-25BB-3EA4-AB3E5F2539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790F218-7DA1-5DFA-D6B4-78160797F2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6C9F8C2-6610-30D7-0171-0868FE2C71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C473382-4E8C-74C0-54C9-B31A0B0B918F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odutizacao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do IPSec  09/04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JWT/Token no MQ  21/05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Workshop MQ x Kafka  TBD</a:t>
            </a:r>
          </a:p>
          <a:p>
            <a:pPr marL="0" lvl="2" algn="just"/>
            <a:endParaRPr lang="pt-BR" sz="1100" dirty="0">
              <a:solidFill>
                <a:schemeClr val="tx1"/>
              </a:solidFill>
              <a:highlight>
                <a:srgbClr val="00FF00"/>
              </a:highlight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AAB3893-BFD0-0C31-85E4-A26D707AB063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2946977-0670-DC65-C382-6C5732031F4D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 Automation</a:t>
            </a:r>
            <a:endParaRPr lang="pt-BR" sz="14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00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miani / </a:t>
            </a:r>
            <a:r>
              <a:rPr lang="en-US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biá</a:t>
            </a:r>
            <a:endParaRPr 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>
              <a:lnSpc>
                <a:spcPct val="100000"/>
              </a:lnSpc>
            </a:pPr>
            <a:endParaRPr lang="en-US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/>
            <a:r>
              <a:rPr lang="en-US" sz="12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09/04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21/05/2025</a:t>
            </a:r>
            <a:br>
              <a:rPr lang="pt-BR" sz="12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</a:br>
            <a:r>
              <a:rPr lang="pt-BR" sz="12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6/06/2025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1A4147A7-20AF-223E-AE91-B6C0861576FE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E1405472-B159-B47A-6BCB-5967E370792C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F7BB45F9-A9E9-1EC5-1BFE-4557676AAFBD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B22199C5-833F-A9EF-DE0A-C65708F9151E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689A1DAA-9708-8E53-02C1-BD09DFEEF799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D5743B9C-4A3C-93AF-5E60-253EDB64D942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endPara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B5FF8776-0410-62F1-C55C-183C1CE90858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8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Descobrimos o Sabiá - Tentando agenda com time Kafka do Itaú</a:t>
              </a:r>
              <a:endParaRPr lang="pt-BR" sz="800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5715B622-648F-A11C-EB8F-4AE6538FFCA3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40" name="Straight Arrow Connector 4">
                <a:extLst>
                  <a:ext uri="{FF2B5EF4-FFF2-40B4-BE49-F238E27FC236}">
                    <a16:creationId xmlns:a16="http://schemas.microsoft.com/office/drawing/2014/main" id="{407F920C-9893-5B1D-9F9E-BAE0B835FE2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" name="Oval 6">
                <a:extLst>
                  <a:ext uri="{FF2B5EF4-FFF2-40B4-BE49-F238E27FC236}">
                    <a16:creationId xmlns:a16="http://schemas.microsoft.com/office/drawing/2014/main" id="{B11EB09C-CFAF-4692-EBE4-712833BECA1D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2" name="Oval 6">
                <a:extLst>
                  <a:ext uri="{FF2B5EF4-FFF2-40B4-BE49-F238E27FC236}">
                    <a16:creationId xmlns:a16="http://schemas.microsoft.com/office/drawing/2014/main" id="{21AE546E-B422-E08C-BC85-3C666ECD7A39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6F60E426-1289-FE46-D5B7-169D2E991E00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5" name="Rectangle 44">
                  <a:extLst>
                    <a:ext uri="{FF2B5EF4-FFF2-40B4-BE49-F238E27FC236}">
                      <a16:creationId xmlns:a16="http://schemas.microsoft.com/office/drawing/2014/main" id="{933B1B03-4730-FC76-BA80-4E5E2C6A82A8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an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46" name="Rectangle 45">
                  <a:extLst>
                    <a:ext uri="{FF2B5EF4-FFF2-40B4-BE49-F238E27FC236}">
                      <a16:creationId xmlns:a16="http://schemas.microsoft.com/office/drawing/2014/main" id="{9D056D62-B92E-2859-1F8C-58F68908449A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Fe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76904C30-2982-6A1E-F890-55AACD4FCC85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r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44" name="Oval 6">
                <a:extLst>
                  <a:ext uri="{FF2B5EF4-FFF2-40B4-BE49-F238E27FC236}">
                    <a16:creationId xmlns:a16="http://schemas.microsoft.com/office/drawing/2014/main" id="{212B0B3B-07BB-BF52-FB99-65AB3CA1E9E6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BFB9CD26-72A0-EC24-21B3-7EB487BBAE3E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2770EB2B-E729-E3A8-0773-BA33467212B9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01EB7846-AF14-D3CB-9657-F2A8423D2D82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B5AF40AB-C85E-DC84-088C-57F6164E4E0E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8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agenda com time Kafka do Itaú</a:t>
              </a:r>
              <a:endParaRPr lang="pt-BR" sz="800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8D1C2D31-6EDA-F9C4-4D41-BC53CF761157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agenda com time Kafka do Itaú</a:t>
              </a:r>
              <a:endParaRPr lang="pt-BR" sz="700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88DDE1F4-BABB-6CE9-1778-428C4D71E43D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Descobrimos o Alex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edrero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- Tentando agenda com time Kafka do Itaú</a:t>
              </a:r>
              <a:endParaRPr lang="pt-BR" sz="700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pt-BR" sz="700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5DDC91D6-19D7-AAD0-79A5-41D5D4D243DF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32" name="Straight Arrow Connector 4">
                <a:extLst>
                  <a:ext uri="{FF2B5EF4-FFF2-40B4-BE49-F238E27FC236}">
                    <a16:creationId xmlns:a16="http://schemas.microsoft.com/office/drawing/2014/main" id="{4C01A060-1E6E-7CEC-3DEC-47A54C1089F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3" name="Oval 6">
                <a:extLst>
                  <a:ext uri="{FF2B5EF4-FFF2-40B4-BE49-F238E27FC236}">
                    <a16:creationId xmlns:a16="http://schemas.microsoft.com/office/drawing/2014/main" id="{3B91F5E0-E355-84BE-42A5-DC4DE5455E56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4" name="Oval 6">
                <a:extLst>
                  <a:ext uri="{FF2B5EF4-FFF2-40B4-BE49-F238E27FC236}">
                    <a16:creationId xmlns:a16="http://schemas.microsoft.com/office/drawing/2014/main" id="{01CF6F8E-4EAC-D475-67F0-75195985B70F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35" name="Group 34">
                <a:extLst>
                  <a:ext uri="{FF2B5EF4-FFF2-40B4-BE49-F238E27FC236}">
                    <a16:creationId xmlns:a16="http://schemas.microsoft.com/office/drawing/2014/main" id="{066EF944-A84D-FE26-C3FF-754BF7F93A3E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37" name="Rectangle 36">
                  <a:extLst>
                    <a:ext uri="{FF2B5EF4-FFF2-40B4-BE49-F238E27FC236}">
                      <a16:creationId xmlns:a16="http://schemas.microsoft.com/office/drawing/2014/main" id="{2EE46B07-12AB-D8CE-997A-55FB0BE35E3B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 err="1">
                      <a:solidFill>
                        <a:srgbClr val="1D3649"/>
                      </a:solidFill>
                    </a:rPr>
                    <a:t>Abr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38" name="Rectangle 37">
                  <a:extLst>
                    <a:ext uri="{FF2B5EF4-FFF2-40B4-BE49-F238E27FC236}">
                      <a16:creationId xmlns:a16="http://schemas.microsoft.com/office/drawing/2014/main" id="{A1E69D7E-B953-1CAF-5E1D-B463269DE762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i/25</a:t>
                  </a:r>
                  <a:endParaRPr lang="en-US" dirty="0"/>
                </a:p>
              </p:txBody>
            </p:sp>
            <p:sp>
              <p:nvSpPr>
                <p:cNvPr id="39" name="Rectangle 38">
                  <a:extLst>
                    <a:ext uri="{FF2B5EF4-FFF2-40B4-BE49-F238E27FC236}">
                      <a16:creationId xmlns:a16="http://schemas.microsoft.com/office/drawing/2014/main" id="{AFD5BDC0-F7EF-1A6A-D53E-C7FC92CAE32F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Jun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36" name="Oval 6">
                <a:extLst>
                  <a:ext uri="{FF2B5EF4-FFF2-40B4-BE49-F238E27FC236}">
                    <a16:creationId xmlns:a16="http://schemas.microsoft.com/office/drawing/2014/main" id="{CFE04340-0490-F23A-1EE4-2BD1E8C51099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48" name="Title 1">
            <a:extLst>
              <a:ext uri="{FF2B5EF4-FFF2-40B4-BE49-F238E27FC236}">
                <a16:creationId xmlns:a16="http://schemas.microsoft.com/office/drawing/2014/main" id="{C6498BE4-3234-5E57-1F14-B2587D775BEB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4CDFB589-D84B-A12D-92D1-2619810775BD}"/>
              </a:ext>
            </a:extLst>
          </p:cNvPr>
          <p:cNvGrpSpPr/>
          <p:nvPr/>
        </p:nvGrpSpPr>
        <p:grpSpPr>
          <a:xfrm>
            <a:off x="131121" y="104706"/>
            <a:ext cx="1164886" cy="1267044"/>
            <a:chOff x="638224" y="71121"/>
            <a:chExt cx="1164886" cy="126704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9E4DDB46-213F-F41B-E5FF-ABFE3CAC1B49}"/>
                </a:ext>
              </a:extLst>
            </p:cNvPr>
            <p:cNvSpPr/>
            <p:nvPr/>
          </p:nvSpPr>
          <p:spPr>
            <a:xfrm>
              <a:off x="638224" y="71121"/>
              <a:ext cx="1164886" cy="126704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r>
                <a:rPr lang="pt-BR" sz="1100" b="1" dirty="0">
                  <a:solidFill>
                    <a:schemeClr val="tx1"/>
                  </a:solidFill>
                </a:rPr>
                <a:t>IBM Event Automation</a:t>
              </a:r>
              <a:endParaRPr lang="en-US" sz="1100" b="1" dirty="0">
                <a:solidFill>
                  <a:schemeClr val="tx1"/>
                </a:solidFill>
              </a:endParaRPr>
            </a:p>
          </p:txBody>
        </p:sp>
        <p:pic>
          <p:nvPicPr>
            <p:cNvPr id="6" name="Picture 2" descr="AWS Marketplace: IBM Event Automation (software)">
              <a:extLst>
                <a:ext uri="{FF2B5EF4-FFF2-40B4-BE49-F238E27FC236}">
                  <a16:creationId xmlns:a16="http://schemas.microsoft.com/office/drawing/2014/main" id="{0C47D69E-898D-4C93-B50B-1863B5506A8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9686" y="116090"/>
              <a:ext cx="914997" cy="86117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7834601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_RG9HW4kSjWx.Jfb2HXw"/>
</p:tagLst>
</file>

<file path=ppt/theme/theme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 - Blue Line Theme">
  <a:themeElements>
    <a:clrScheme name="Custom 2">
      <a:dk1>
        <a:srgbClr val="000000"/>
      </a:dk1>
      <a:lt1>
        <a:srgbClr val="FFFFFF"/>
      </a:lt1>
      <a:dk2>
        <a:srgbClr val="4155D5"/>
      </a:dk2>
      <a:lt2>
        <a:srgbClr val="EAE5EB"/>
      </a:lt2>
      <a:accent1>
        <a:srgbClr val="1C2C41"/>
      </a:accent1>
      <a:accent2>
        <a:srgbClr val="0055D9"/>
      </a:accent2>
      <a:accent3>
        <a:srgbClr val="096BFE"/>
      </a:accent3>
      <a:accent4>
        <a:srgbClr val="D0E2FF"/>
      </a:accent4>
      <a:accent5>
        <a:srgbClr val="BD95FF"/>
      </a:accent5>
      <a:accent6>
        <a:srgbClr val="A641FF"/>
      </a:accent6>
      <a:hlink>
        <a:srgbClr val="0066FF"/>
      </a:hlink>
      <a:folHlink>
        <a:srgbClr val="666699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3175">
          <a:solidFill>
            <a:schemeClr val="bg1">
              <a:lumMod val="7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SC Program Template" id="{D699AB58-0D9D-DD4F-AAB2-39CCF323C3BC}" vid="{B8D6E6D3-3172-C940-B17E-23233D8D37B5}"/>
    </a:ext>
  </a:extLst>
</a:theme>
</file>

<file path=ppt/theme/theme3.xml><?xml version="1.0" encoding="utf-8"?>
<a:theme xmlns:a="http://schemas.openxmlformats.org/drawingml/2006/main" name="IBM 2019 Master template (light gray background)">
  <a:themeElements>
    <a:clrScheme name="Custom 5">
      <a:dk1>
        <a:srgbClr val="FFFFFF"/>
      </a:dk1>
      <a:lt1>
        <a:srgbClr val="000000"/>
      </a:lt1>
      <a:dk2>
        <a:srgbClr val="565656"/>
      </a:dk2>
      <a:lt2>
        <a:srgbClr val="F3F3F3"/>
      </a:lt2>
      <a:accent1>
        <a:srgbClr val="6F6F6F"/>
      </a:accent1>
      <a:accent2>
        <a:srgbClr val="0062FF"/>
      </a:accent2>
      <a:accent3>
        <a:srgbClr val="D12765"/>
      </a:accent3>
      <a:accent4>
        <a:srgbClr val="8A3FFC"/>
      </a:accent4>
      <a:accent5>
        <a:srgbClr val="007D79"/>
      </a:accent5>
      <a:accent6>
        <a:srgbClr val="697077"/>
      </a:accent6>
      <a:hlink>
        <a:srgbClr val="0062FF"/>
      </a:hlink>
      <a:folHlink>
        <a:srgbClr val="6EA6FF"/>
      </a:folHlink>
    </a:clrScheme>
    <a:fontScheme name="IBM Plex">
      <a:majorFont>
        <a:latin typeface="IBM Plex Sans Bold"/>
        <a:ea typeface=""/>
        <a:cs typeface=""/>
      </a:majorFont>
      <a:minorFont>
        <a:latin typeface="IBM Plex Sans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19050">
          <a:solidFill>
            <a:schemeClr val="accent2"/>
          </a:solidFill>
          <a:headEnd type="none" w="med" len="med"/>
          <a:tailEnd type="none" w="med" len="med"/>
        </a:ln>
        <a:effectLst/>
      </a:spPr>
      <a:bodyPr vert="horz" wrap="square" lIns="36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IBM Plex Sans" panose="020B0503050203000203" pitchFamily="34" charset="0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sz="1400" dirty="0" smtClean="0">
            <a:solidFill>
              <a:schemeClr val="tx1"/>
            </a:solidFill>
            <a:latin typeface="IBM Plex Sans" charset="0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Magenta 100">
      <a:srgbClr val="2A0A16"/>
    </a:custClr>
    <a:custClr name="Magenta 90">
      <a:srgbClr val="57002B"/>
    </a:custClr>
    <a:custClr name="Magenta 80">
      <a:srgbClr val="760A3A"/>
    </a:custClr>
    <a:custClr name="Magenta 70">
      <a:srgbClr val="A11950"/>
    </a:custClr>
    <a:custClr name="Magenta 60">
      <a:srgbClr val="D12765"/>
    </a:custClr>
    <a:custClr name="Magenta 50">
      <a:srgbClr val="EE538B"/>
    </a:custClr>
    <a:custClr name="Magenta 40">
      <a:srgbClr val="FA75A6"/>
    </a:custClr>
    <a:custClr name="Magenta 30">
      <a:srgbClr val="FFA0C2"/>
    </a:custClr>
    <a:custClr name="Magenta 20">
      <a:srgbClr val="FFCFE1"/>
    </a:custClr>
    <a:custClr name="Magenta 10">
      <a:srgbClr val="FFF0F6"/>
    </a:custClr>
    <a:custClr name="Purple 100">
      <a:srgbClr val="1E1033"/>
    </a:custClr>
    <a:custClr name="Purple 90">
      <a:srgbClr val="38146B"/>
    </a:custClr>
    <a:custClr name="Purple 80">
      <a:srgbClr val="4F2196"/>
    </a:custClr>
    <a:custClr name="Purple 70">
      <a:srgbClr val="6E32C9"/>
    </a:custClr>
    <a:custClr name="Purple 60">
      <a:srgbClr val="8A3FFC"/>
    </a:custClr>
    <a:custClr name="Purple 50">
      <a:srgbClr val="A66EFA"/>
    </a:custClr>
    <a:custClr name="Purple 40">
      <a:srgbClr val="BB8EFF"/>
    </a:custClr>
    <a:custClr name="Purple 30">
      <a:srgbClr val="D0B0FF"/>
    </a:custClr>
    <a:custClr name="Purple 20">
      <a:srgbClr val="E6D6FF"/>
    </a:custClr>
    <a:custClr name="Purple 10">
      <a:srgbClr val="F7F1FF"/>
    </a:custClr>
    <a:custClr name="Blue 100">
      <a:srgbClr val="051243"/>
    </a:custClr>
    <a:custClr name="Blue 90">
      <a:srgbClr val="061F80"/>
    </a:custClr>
    <a:custClr name="Blue 80">
      <a:srgbClr val="0530AD"/>
    </a:custClr>
    <a:custClr name="Blue 70">
      <a:srgbClr val="054ADA"/>
    </a:custClr>
    <a:custClr name="Blue 60">
      <a:srgbClr val="0062FF"/>
    </a:custClr>
    <a:custClr name="Blue 50">
      <a:srgbClr val="408BFC"/>
    </a:custClr>
    <a:custClr name="Blue 40">
      <a:srgbClr val="6EA6FF"/>
    </a:custClr>
    <a:custClr name="Blue 30">
      <a:srgbClr val="97C1FF"/>
    </a:custClr>
    <a:custClr name="Blue 20">
      <a:srgbClr val="C9DEFF"/>
    </a:custClr>
    <a:custClr name="Blue 10">
      <a:srgbClr val="EDF4FF"/>
    </a:custClr>
    <a:custClr name="Teal 100">
      <a:srgbClr val="081A1C"/>
    </a:custClr>
    <a:custClr name="Teal 90">
      <a:srgbClr val="003137"/>
    </a:custClr>
    <a:custClr name="Teal 80">
      <a:srgbClr val="004548"/>
    </a:custClr>
    <a:custClr name="Teal 70">
      <a:srgbClr val="006161"/>
    </a:custClr>
    <a:custClr name="Teal 60">
      <a:srgbClr val="007D79"/>
    </a:custClr>
    <a:custClr name="Teal 50">
      <a:srgbClr val="009C98"/>
    </a:custClr>
    <a:custClr name="Teal 40">
      <a:srgbClr val="00BAB6"/>
    </a:custClr>
    <a:custClr name="Teal 30">
      <a:srgbClr val="20D5D2"/>
    </a:custClr>
    <a:custClr name="Teal 20">
      <a:srgbClr val="92EEEE"/>
    </a:custClr>
    <a:custClr name="Teal 10">
      <a:srgbClr val="DBFBFB"/>
    </a:custClr>
    <a:custClr name="Gray 100">
      <a:srgbClr val="171717"/>
    </a:custClr>
    <a:custClr name="Gray 90">
      <a:srgbClr val="282828"/>
    </a:custClr>
    <a:custClr name="Gray 80">
      <a:srgbClr val="3D3D3D"/>
    </a:custClr>
    <a:custClr name="Gray 70">
      <a:srgbClr val="565656"/>
    </a:custClr>
    <a:custClr name="Gray 60">
      <a:srgbClr val="6F6F6F"/>
    </a:custClr>
    <a:custClr name="Gray 50">
      <a:srgbClr val="8C8C8C"/>
    </a:custClr>
    <a:custClr name="Gray 40">
      <a:srgbClr val="A4A4A4"/>
    </a:custClr>
    <a:custClr name="Gray 30">
      <a:srgbClr val="BEBEBE"/>
    </a:custClr>
    <a:custClr name="Gray 20">
      <a:srgbClr val="DCDCDC"/>
    </a:custClr>
    <a:custClr name="Gray 10">
      <a:srgbClr val="F3F3F3"/>
    </a:custClr>
  </a:custClrLst>
  <a:extLst>
    <a:ext uri="{05A4C25C-085E-4340-85A3-A5531E510DB2}">
      <thm15:themeFamily xmlns:thm15="http://schemas.microsoft.com/office/thememl/2012/main" name="IBM_Master_Presentation_2019_V01_Plex_Embed_LargeFormat" id="{9A8984FD-B3DF-A840-840F-71DD6FB2CD77}" vid="{2F72A950-76FC-244D-942E-1CB1729F9961}"/>
    </a:ext>
  </a:extLst>
</a:theme>
</file>

<file path=ppt/theme/theme4.xml><?xml version="1.0" encoding="utf-8"?>
<a:theme xmlns:a="http://schemas.openxmlformats.org/drawingml/2006/main" name="8_blk_background_2017">
  <a:themeElements>
    <a:clrScheme name="Custom 49">
      <a:dk1>
        <a:srgbClr val="000000"/>
      </a:dk1>
      <a:lt1>
        <a:srgbClr val="000000"/>
      </a:lt1>
      <a:dk2>
        <a:srgbClr val="EAEAEA"/>
      </a:dk2>
      <a:lt2>
        <a:srgbClr val="FFFFFF"/>
      </a:lt2>
      <a:accent1>
        <a:srgbClr val="8F8B8B"/>
      </a:accent1>
      <a:accent2>
        <a:srgbClr val="0F6FFF"/>
      </a:accent2>
      <a:accent3>
        <a:srgbClr val="20D5D2"/>
      </a:accent3>
      <a:accent4>
        <a:srgbClr val="8F8B8B"/>
      </a:accent4>
      <a:accent5>
        <a:srgbClr val="6E177D"/>
      </a:accent5>
      <a:accent6>
        <a:srgbClr val="DB2663"/>
      </a:accent6>
      <a:hlink>
        <a:srgbClr val="0F6FFF"/>
      </a:hlink>
      <a:folHlink>
        <a:srgbClr val="E0E0E0"/>
      </a:folHlink>
    </a:clrScheme>
    <a:fontScheme name="IBM Master PPT Template">
      <a:majorFont>
        <a:latin typeface="IBM Plex Sans"/>
        <a:ea typeface=""/>
        <a:cs typeface=""/>
      </a:majorFont>
      <a:minorFont>
        <a:latin typeface="IBM Ple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 lIns="0" tIns="0" rIns="0" bIns="0">
        <a:noAutofit/>
      </a:bodyPr>
      <a:lstStyle>
        <a:defPPr>
          <a:defRPr sz="1200" dirty="0" err="1">
            <a:solidFill>
              <a:srgbClr val="FFFFFF"/>
            </a:solidFill>
            <a:latin typeface="Arial"/>
            <a:cs typeface="Arial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BM_Cloud_Presentation_2018_V03_Plex" id="{1226378D-4E68-1646-AEAE-702B1A9905A1}" vid="{4C020BF7-4FCB-1F42-8019-A2CCA1C10BB5}"/>
    </a:ext>
  </a:extLst>
</a:theme>
</file>

<file path=ppt/theme/theme5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624</TotalTime>
  <Words>2774</Words>
  <Application>Microsoft Office PowerPoint</Application>
  <PresentationFormat>Widescreen</PresentationFormat>
  <Paragraphs>721</Paragraphs>
  <Slides>23</Slides>
  <Notes>4</Notes>
  <HiddenSlides>3</HiddenSlides>
  <MMClips>0</MMClips>
  <ScaleCrop>false</ScaleCrop>
  <HeadingPairs>
    <vt:vector size="8" baseType="variant">
      <vt:variant>
        <vt:lpstr>Fonts Used</vt:lpstr>
      </vt:variant>
      <vt:variant>
        <vt:i4>16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44" baseType="lpstr">
      <vt:lpstr>.AppleSystemUIFont</vt:lpstr>
      <vt:lpstr>Aptos</vt:lpstr>
      <vt:lpstr>Aptos Narrow</vt:lpstr>
      <vt:lpstr>Arial</vt:lpstr>
      <vt:lpstr>Calibri</vt:lpstr>
      <vt:lpstr>Calibri Light</vt:lpstr>
      <vt:lpstr>Helvetica Neue</vt:lpstr>
      <vt:lpstr>HelvNeue Light for IBM</vt:lpstr>
      <vt:lpstr>IBM Plex Sans</vt:lpstr>
      <vt:lpstr>IBM Plex Sans Light</vt:lpstr>
      <vt:lpstr>IBM Plex Sans Medium</vt:lpstr>
      <vt:lpstr>IBM Plex Sans Regular</vt:lpstr>
      <vt:lpstr>Lora</vt:lpstr>
      <vt:lpstr>Quattrocento Sans</vt:lpstr>
      <vt:lpstr>Times New Roman</vt:lpstr>
      <vt:lpstr>Wingdings</vt:lpstr>
      <vt:lpstr>Tema do Office</vt:lpstr>
      <vt:lpstr>2 - Blue Line Theme</vt:lpstr>
      <vt:lpstr>IBM 2019 Master template (light gray background)</vt:lpstr>
      <vt:lpstr>8_blk_background_2017</vt:lpstr>
      <vt:lpstr>think-cell Slide</vt:lpstr>
      <vt:lpstr>IBM   Resumo Executivo Contas Enterprise - Strategic</vt:lpstr>
      <vt:lpstr>PowerPoint Presentation</vt:lpstr>
      <vt:lpstr>A missão do Customer Success Manager…</vt:lpstr>
      <vt:lpstr>O que é o Customer Success na IBM? </vt:lpstr>
      <vt:lpstr>Exemplos de atividades do CSM            CSM example activities </vt:lpstr>
      <vt:lpstr>Atividades CP4x         Activities CP4x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Avaliação do CSM &amp; Grupos de discussões           CSM evaluation &amp; Groups</vt:lpstr>
      <vt:lpstr>Referências Externas (Ex: Gartner)            External references </vt:lpstr>
      <vt:lpstr>Ciclo de vida do produto              Product Lifecycle</vt:lpstr>
      <vt:lpstr>Ciclo de vida do produto              Product Lifecycle</vt:lpstr>
      <vt:lpstr>Ciclo de vida do produto              Product Lifecycle</vt:lpstr>
      <vt:lpstr>Ciclo de vida do produto              Product Lifecycle</vt:lpstr>
      <vt:lpstr>Ciclo de vida do produto              Product Lifecycle</vt:lpstr>
      <vt:lpstr>Ciclo de vida do produto              Product Lifecycle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BM CP4I  Grupo Casas Bahia S. A.</dc:title>
  <dc:creator>Rodrigo Spósito</dc:creator>
  <cp:lastModifiedBy>Alexandre Zanetti de Almeida</cp:lastModifiedBy>
  <cp:revision>409</cp:revision>
  <dcterms:created xsi:type="dcterms:W3CDTF">2023-12-08T17:08:25Z</dcterms:created>
  <dcterms:modified xsi:type="dcterms:W3CDTF">2025-10-24T11:37:46Z</dcterms:modified>
</cp:coreProperties>
</file>